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3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4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2" r:id="rId4"/>
    <p:sldMasterId id="2147483860" r:id="rId5"/>
    <p:sldMasterId id="2147483889" r:id="rId6"/>
    <p:sldMasterId id="2147483913" r:id="rId7"/>
  </p:sldMasterIdLst>
  <p:notesMasterIdLst>
    <p:notesMasterId r:id="rId28"/>
  </p:notesMasterIdLst>
  <p:handoutMasterIdLst>
    <p:handoutMasterId r:id="rId29"/>
  </p:handoutMasterIdLst>
  <p:sldIdLst>
    <p:sldId id="897" r:id="rId8"/>
    <p:sldId id="898" r:id="rId9"/>
    <p:sldId id="912" r:id="rId10"/>
    <p:sldId id="900" r:id="rId11"/>
    <p:sldId id="901" r:id="rId12"/>
    <p:sldId id="916" r:id="rId13"/>
    <p:sldId id="902" r:id="rId14"/>
    <p:sldId id="903" r:id="rId15"/>
    <p:sldId id="917" r:id="rId16"/>
    <p:sldId id="919" r:id="rId17"/>
    <p:sldId id="920" r:id="rId18"/>
    <p:sldId id="921" r:id="rId19"/>
    <p:sldId id="904" r:id="rId20"/>
    <p:sldId id="905" r:id="rId21"/>
    <p:sldId id="924" r:id="rId22"/>
    <p:sldId id="907" r:id="rId23"/>
    <p:sldId id="925" r:id="rId24"/>
    <p:sldId id="926" r:id="rId25"/>
    <p:sldId id="908" r:id="rId26"/>
    <p:sldId id="915" r:id="rId27"/>
  </p:sldIdLst>
  <p:sldSz cx="12192000" cy="6858000"/>
  <p:notesSz cx="7019925" cy="93059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FE720D0-D4BC-4E6B-9F34-E01E06DCF76E}" v="4" dt="2023-04-27T07:53:34.6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57" autoAdjust="0"/>
    <p:restoredTop sz="93979" autoAdjust="0"/>
  </p:normalViewPr>
  <p:slideViewPr>
    <p:cSldViewPr snapToGrid="0" snapToObjects="1">
      <p:cViewPr varScale="1">
        <p:scale>
          <a:sx n="63" d="100"/>
          <a:sy n="63" d="100"/>
        </p:scale>
        <p:origin x="1072" y="5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34" d="100"/>
        <a:sy n="134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ua Tony" userId="7deebee6-df33-46fc-9851-5225166dac4f" providerId="ADAL" clId="{EFE720D0-D4BC-4E6B-9F34-E01E06DCF76E}"/>
    <pc:docChg chg="undo custSel delSld modSld">
      <pc:chgData name="Chua Tony" userId="7deebee6-df33-46fc-9851-5225166dac4f" providerId="ADAL" clId="{EFE720D0-D4BC-4E6B-9F34-E01E06DCF76E}" dt="2023-04-27T07:53:41.035" v="1373" actId="2696"/>
      <pc:docMkLst>
        <pc:docMk/>
      </pc:docMkLst>
      <pc:sldChg chg="del">
        <pc:chgData name="Chua Tony" userId="7deebee6-df33-46fc-9851-5225166dac4f" providerId="ADAL" clId="{EFE720D0-D4BC-4E6B-9F34-E01E06DCF76E}" dt="2023-04-27T07:53:41.035" v="1373" actId="2696"/>
        <pc:sldMkLst>
          <pc:docMk/>
          <pc:sldMk cId="2332598555" sldId="275"/>
        </pc:sldMkLst>
      </pc:sldChg>
      <pc:sldChg chg="modSp mod">
        <pc:chgData name="Chua Tony" userId="7deebee6-df33-46fc-9851-5225166dac4f" providerId="ADAL" clId="{EFE720D0-D4BC-4E6B-9F34-E01E06DCF76E}" dt="2023-04-27T03:01:12.674" v="1" actId="20577"/>
        <pc:sldMkLst>
          <pc:docMk/>
          <pc:sldMk cId="2882035694" sldId="897"/>
        </pc:sldMkLst>
        <pc:spChg chg="mod">
          <ac:chgData name="Chua Tony" userId="7deebee6-df33-46fc-9851-5225166dac4f" providerId="ADAL" clId="{EFE720D0-D4BC-4E6B-9F34-E01E06DCF76E}" dt="2023-04-27T03:01:12.674" v="1" actId="20577"/>
          <ac:spMkLst>
            <pc:docMk/>
            <pc:sldMk cId="2882035694" sldId="897"/>
            <ac:spMk id="6" creationId="{3702A82B-62F0-5D8E-C09D-95EF26835D70}"/>
          </ac:spMkLst>
        </pc:spChg>
      </pc:sldChg>
      <pc:sldChg chg="addSp delSp modSp mod modClrScheme chgLayout">
        <pc:chgData name="Chua Tony" userId="7deebee6-df33-46fc-9851-5225166dac4f" providerId="ADAL" clId="{EFE720D0-D4BC-4E6B-9F34-E01E06DCF76E}" dt="2023-04-27T03:06:38.469" v="26" actId="1076"/>
        <pc:sldMkLst>
          <pc:docMk/>
          <pc:sldMk cId="2705705761" sldId="898"/>
        </pc:sldMkLst>
        <pc:spChg chg="add del mod ord">
          <ac:chgData name="Chua Tony" userId="7deebee6-df33-46fc-9851-5225166dac4f" providerId="ADAL" clId="{EFE720D0-D4BC-4E6B-9F34-E01E06DCF76E}" dt="2023-04-27T03:04:25.657" v="12" actId="478"/>
          <ac:spMkLst>
            <pc:docMk/>
            <pc:sldMk cId="2705705761" sldId="898"/>
            <ac:spMk id="2" creationId="{3D266EBA-B9A1-3CC6-1E36-211340B14BA0}"/>
          </ac:spMkLst>
        </pc:spChg>
        <pc:spChg chg="mod">
          <ac:chgData name="Chua Tony" userId="7deebee6-df33-46fc-9851-5225166dac4f" providerId="ADAL" clId="{EFE720D0-D4BC-4E6B-9F34-E01E06DCF76E}" dt="2023-04-27T03:04:31.384" v="14" actId="1076"/>
          <ac:spMkLst>
            <pc:docMk/>
            <pc:sldMk cId="2705705761" sldId="898"/>
            <ac:spMk id="15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3:06:17.438" v="21" actId="478"/>
          <ac:spMkLst>
            <pc:docMk/>
            <pc:sldMk cId="2705705761" sldId="898"/>
            <ac:spMk id="25" creationId="{00000000-0000-0000-0000-000000000000}"/>
          </ac:spMkLst>
        </pc:spChg>
        <pc:spChg chg="add del mod">
          <ac:chgData name="Chua Tony" userId="7deebee6-df33-46fc-9851-5225166dac4f" providerId="ADAL" clId="{EFE720D0-D4BC-4E6B-9F34-E01E06DCF76E}" dt="2023-04-27T03:06:38.469" v="26" actId="1076"/>
          <ac:spMkLst>
            <pc:docMk/>
            <pc:sldMk cId="2705705761" sldId="898"/>
            <ac:spMk id="30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3:06:22.315" v="23" actId="478"/>
          <ac:spMkLst>
            <pc:docMk/>
            <pc:sldMk cId="2705705761" sldId="898"/>
            <ac:spMk id="31" creationId="{00000000-0000-0000-0000-000000000000}"/>
          </ac:spMkLst>
        </pc:spChg>
        <pc:grpChg chg="del">
          <ac:chgData name="Chua Tony" userId="7deebee6-df33-46fc-9851-5225166dac4f" providerId="ADAL" clId="{EFE720D0-D4BC-4E6B-9F34-E01E06DCF76E}" dt="2023-04-27T03:02:28.065" v="3" actId="478"/>
          <ac:grpSpMkLst>
            <pc:docMk/>
            <pc:sldMk cId="2705705761" sldId="898"/>
            <ac:grpSpMk id="19" creationId="{00000000-0000-0000-0000-000000000000}"/>
          </ac:grpSpMkLst>
        </pc:grpChg>
        <pc:picChg chg="del">
          <ac:chgData name="Chua Tony" userId="7deebee6-df33-46fc-9851-5225166dac4f" providerId="ADAL" clId="{EFE720D0-D4BC-4E6B-9F34-E01E06DCF76E}" dt="2023-04-27T03:06:19.343" v="22" actId="478"/>
          <ac:picMkLst>
            <pc:docMk/>
            <pc:sldMk cId="2705705761" sldId="898"/>
            <ac:picMk id="24" creationId="{00000000-0000-0000-0000-000000000000}"/>
          </ac:picMkLst>
        </pc:picChg>
        <pc:cxnChg chg="del">
          <ac:chgData name="Chua Tony" userId="7deebee6-df33-46fc-9851-5225166dac4f" providerId="ADAL" clId="{EFE720D0-D4BC-4E6B-9F34-E01E06DCF76E}" dt="2023-04-27T03:06:23.437" v="24" actId="478"/>
          <ac:cxnSpMkLst>
            <pc:docMk/>
            <pc:sldMk cId="2705705761" sldId="898"/>
            <ac:cxnSpMk id="27" creationId="{00000000-0000-0000-0000-000000000000}"/>
          </ac:cxnSpMkLst>
        </pc:cxnChg>
      </pc:sldChg>
      <pc:sldChg chg="addSp delSp modSp mod modClrScheme chgLayout">
        <pc:chgData name="Chua Tony" userId="7deebee6-df33-46fc-9851-5225166dac4f" providerId="ADAL" clId="{EFE720D0-D4BC-4E6B-9F34-E01E06DCF76E}" dt="2023-04-27T03:07:13.307" v="112" actId="1036"/>
        <pc:sldMkLst>
          <pc:docMk/>
          <pc:sldMk cId="3549655955" sldId="900"/>
        </pc:sldMkLst>
        <pc:spChg chg="add del mod ord">
          <ac:chgData name="Chua Tony" userId="7deebee6-df33-46fc-9851-5225166dac4f" providerId="ADAL" clId="{EFE720D0-D4BC-4E6B-9F34-E01E06DCF76E}" dt="2023-04-27T03:06:57.451" v="102" actId="478"/>
          <ac:spMkLst>
            <pc:docMk/>
            <pc:sldMk cId="3549655955" sldId="900"/>
            <ac:spMk id="2" creationId="{FAB5BEA9-EFC3-527E-729A-E6D2C34D1420}"/>
          </ac:spMkLst>
        </pc:spChg>
        <pc:spChg chg="del">
          <ac:chgData name="Chua Tony" userId="7deebee6-df33-46fc-9851-5225166dac4f" providerId="ADAL" clId="{EFE720D0-D4BC-4E6B-9F34-E01E06DCF76E}" dt="2023-04-27T03:07:04.409" v="104" actId="478"/>
          <ac:spMkLst>
            <pc:docMk/>
            <pc:sldMk cId="3549655955" sldId="900"/>
            <ac:spMk id="25" creationId="{00000000-0000-0000-0000-000000000000}"/>
          </ac:spMkLst>
        </pc:spChg>
        <pc:spChg chg="mod">
          <ac:chgData name="Chua Tony" userId="7deebee6-df33-46fc-9851-5225166dac4f" providerId="ADAL" clId="{EFE720D0-D4BC-4E6B-9F34-E01E06DCF76E}" dt="2023-04-27T03:06:52.619" v="101" actId="1036"/>
          <ac:spMkLst>
            <pc:docMk/>
            <pc:sldMk cId="3549655955" sldId="900"/>
            <ac:spMk id="30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3:07:09.768" v="107" actId="478"/>
          <ac:spMkLst>
            <pc:docMk/>
            <pc:sldMk cId="3549655955" sldId="900"/>
            <ac:spMk id="31" creationId="{00000000-0000-0000-0000-000000000000}"/>
          </ac:spMkLst>
        </pc:spChg>
        <pc:grpChg chg="del">
          <ac:chgData name="Chua Tony" userId="7deebee6-df33-46fc-9851-5225166dac4f" providerId="ADAL" clId="{EFE720D0-D4BC-4E6B-9F34-E01E06DCF76E}" dt="2023-04-27T03:06:42.591" v="27" actId="478"/>
          <ac:grpSpMkLst>
            <pc:docMk/>
            <pc:sldMk cId="3549655955" sldId="900"/>
            <ac:grpSpMk id="19" creationId="{00000000-0000-0000-0000-000000000000}"/>
          </ac:grpSpMkLst>
        </pc:grpChg>
        <pc:picChg chg="mod">
          <ac:chgData name="Chua Tony" userId="7deebee6-df33-46fc-9851-5225166dac4f" providerId="ADAL" clId="{EFE720D0-D4BC-4E6B-9F34-E01E06DCF76E}" dt="2023-04-27T03:07:13.307" v="112" actId="1036"/>
          <ac:picMkLst>
            <pc:docMk/>
            <pc:sldMk cId="3549655955" sldId="900"/>
            <ac:picMk id="17" creationId="{00000000-0000-0000-0000-000000000000}"/>
          </ac:picMkLst>
        </pc:picChg>
        <pc:picChg chg="del">
          <ac:chgData name="Chua Tony" userId="7deebee6-df33-46fc-9851-5225166dac4f" providerId="ADAL" clId="{EFE720D0-D4BC-4E6B-9F34-E01E06DCF76E}" dt="2023-04-27T03:07:07.039" v="106" actId="478"/>
          <ac:picMkLst>
            <pc:docMk/>
            <pc:sldMk cId="3549655955" sldId="900"/>
            <ac:picMk id="24" creationId="{00000000-0000-0000-0000-000000000000}"/>
          </ac:picMkLst>
        </pc:picChg>
        <pc:cxnChg chg="del">
          <ac:chgData name="Chua Tony" userId="7deebee6-df33-46fc-9851-5225166dac4f" providerId="ADAL" clId="{EFE720D0-D4BC-4E6B-9F34-E01E06DCF76E}" dt="2023-04-27T03:07:05.939" v="105" actId="478"/>
          <ac:cxnSpMkLst>
            <pc:docMk/>
            <pc:sldMk cId="3549655955" sldId="900"/>
            <ac:cxnSpMk id="27" creationId="{00000000-0000-0000-0000-000000000000}"/>
          </ac:cxnSpMkLst>
        </pc:cxnChg>
      </pc:sldChg>
      <pc:sldChg chg="addSp delSp modSp mod modClrScheme chgLayout">
        <pc:chgData name="Chua Tony" userId="7deebee6-df33-46fc-9851-5225166dac4f" providerId="ADAL" clId="{EFE720D0-D4BC-4E6B-9F34-E01E06DCF76E}" dt="2023-04-27T07:51:56.992" v="1370" actId="14100"/>
        <pc:sldMkLst>
          <pc:docMk/>
          <pc:sldMk cId="3748158934" sldId="901"/>
        </pc:sldMkLst>
        <pc:spChg chg="add del mod ord">
          <ac:chgData name="Chua Tony" userId="7deebee6-df33-46fc-9851-5225166dac4f" providerId="ADAL" clId="{EFE720D0-D4BC-4E6B-9F34-E01E06DCF76E}" dt="2023-04-27T06:15:10.667" v="118" actId="478"/>
          <ac:spMkLst>
            <pc:docMk/>
            <pc:sldMk cId="3748158934" sldId="901"/>
            <ac:spMk id="2" creationId="{50A3A6D1-27DE-FB92-985C-CEA4C232F5A2}"/>
          </ac:spMkLst>
        </pc:spChg>
        <pc:spChg chg="del">
          <ac:chgData name="Chua Tony" userId="7deebee6-df33-46fc-9851-5225166dac4f" providerId="ADAL" clId="{EFE720D0-D4BC-4E6B-9F34-E01E06DCF76E}" dt="2023-04-27T06:15:03.508" v="115" actId="478"/>
          <ac:spMkLst>
            <pc:docMk/>
            <pc:sldMk cId="3748158934" sldId="901"/>
            <ac:spMk id="25" creationId="{00000000-0000-0000-0000-000000000000}"/>
          </ac:spMkLst>
        </pc:spChg>
        <pc:spChg chg="mod">
          <ac:chgData name="Chua Tony" userId="7deebee6-df33-46fc-9851-5225166dac4f" providerId="ADAL" clId="{EFE720D0-D4BC-4E6B-9F34-E01E06DCF76E}" dt="2023-04-27T06:15:19.323" v="181" actId="1037"/>
          <ac:spMkLst>
            <pc:docMk/>
            <pc:sldMk cId="3748158934" sldId="901"/>
            <ac:spMk id="30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6:15:07.781" v="117" actId="478"/>
          <ac:spMkLst>
            <pc:docMk/>
            <pc:sldMk cId="3748158934" sldId="901"/>
            <ac:spMk id="31" creationId="{00000000-0000-0000-0000-000000000000}"/>
          </ac:spMkLst>
        </pc:spChg>
        <pc:spChg chg="mod">
          <ac:chgData name="Chua Tony" userId="7deebee6-df33-46fc-9851-5225166dac4f" providerId="ADAL" clId="{EFE720D0-D4BC-4E6B-9F34-E01E06DCF76E}" dt="2023-04-27T07:51:56.992" v="1370" actId="14100"/>
          <ac:spMkLst>
            <pc:docMk/>
            <pc:sldMk cId="3748158934" sldId="901"/>
            <ac:spMk id="70" creationId="{00000000-0000-0000-0000-000000000000}"/>
          </ac:spMkLst>
        </pc:spChg>
        <pc:spChg chg="mod">
          <ac:chgData name="Chua Tony" userId="7deebee6-df33-46fc-9851-5225166dac4f" providerId="ADAL" clId="{EFE720D0-D4BC-4E6B-9F34-E01E06DCF76E}" dt="2023-04-27T06:17:01.161" v="380" actId="1036"/>
          <ac:spMkLst>
            <pc:docMk/>
            <pc:sldMk cId="3748158934" sldId="901"/>
            <ac:spMk id="71" creationId="{00000000-0000-0000-0000-000000000000}"/>
          </ac:spMkLst>
        </pc:spChg>
        <pc:grpChg chg="del">
          <ac:chgData name="Chua Tony" userId="7deebee6-df33-46fc-9851-5225166dac4f" providerId="ADAL" clId="{EFE720D0-D4BC-4E6B-9F34-E01E06DCF76E}" dt="2023-04-27T06:15:00.387" v="113" actId="478"/>
          <ac:grpSpMkLst>
            <pc:docMk/>
            <pc:sldMk cId="3748158934" sldId="901"/>
            <ac:grpSpMk id="19" creationId="{00000000-0000-0000-0000-000000000000}"/>
          </ac:grpSpMkLst>
        </pc:grpChg>
        <pc:picChg chg="del">
          <ac:chgData name="Chua Tony" userId="7deebee6-df33-46fc-9851-5225166dac4f" providerId="ADAL" clId="{EFE720D0-D4BC-4E6B-9F34-E01E06DCF76E}" dt="2023-04-27T06:15:02.452" v="114" actId="478"/>
          <ac:picMkLst>
            <pc:docMk/>
            <pc:sldMk cId="3748158934" sldId="901"/>
            <ac:picMk id="24" creationId="{00000000-0000-0000-0000-000000000000}"/>
          </ac:picMkLst>
        </pc:picChg>
        <pc:cxnChg chg="del">
          <ac:chgData name="Chua Tony" userId="7deebee6-df33-46fc-9851-5225166dac4f" providerId="ADAL" clId="{EFE720D0-D4BC-4E6B-9F34-E01E06DCF76E}" dt="2023-04-27T06:15:05.724" v="116" actId="478"/>
          <ac:cxnSpMkLst>
            <pc:docMk/>
            <pc:sldMk cId="3748158934" sldId="901"/>
            <ac:cxnSpMk id="27" creationId="{00000000-0000-0000-0000-000000000000}"/>
          </ac:cxnSpMkLst>
        </pc:cxnChg>
      </pc:sldChg>
      <pc:sldChg chg="addSp delSp modSp mod modClrScheme chgLayout">
        <pc:chgData name="Chua Tony" userId="7deebee6-df33-46fc-9851-5225166dac4f" providerId="ADAL" clId="{EFE720D0-D4BC-4E6B-9F34-E01E06DCF76E}" dt="2023-04-27T06:16:26.826" v="330" actId="1037"/>
        <pc:sldMkLst>
          <pc:docMk/>
          <pc:sldMk cId="669194668" sldId="902"/>
        </pc:sldMkLst>
        <pc:spChg chg="add del mod ord">
          <ac:chgData name="Chua Tony" userId="7deebee6-df33-46fc-9851-5225166dac4f" providerId="ADAL" clId="{EFE720D0-D4BC-4E6B-9F34-E01E06DCF76E}" dt="2023-04-27T06:15:59.075" v="263" actId="478"/>
          <ac:spMkLst>
            <pc:docMk/>
            <pc:sldMk cId="669194668" sldId="902"/>
            <ac:spMk id="4" creationId="{28D66414-2CF8-7583-5ECC-762C796BF3AD}"/>
          </ac:spMkLst>
        </pc:spChg>
        <pc:spChg chg="del">
          <ac:chgData name="Chua Tony" userId="7deebee6-df33-46fc-9851-5225166dac4f" providerId="ADAL" clId="{EFE720D0-D4BC-4E6B-9F34-E01E06DCF76E}" dt="2023-04-27T06:16:12.394" v="264" actId="478"/>
          <ac:spMkLst>
            <pc:docMk/>
            <pc:sldMk cId="669194668" sldId="902"/>
            <ac:spMk id="25" creationId="{00000000-0000-0000-0000-000000000000}"/>
          </ac:spMkLst>
        </pc:spChg>
        <pc:spChg chg="mod">
          <ac:chgData name="Chua Tony" userId="7deebee6-df33-46fc-9851-5225166dac4f" providerId="ADAL" clId="{EFE720D0-D4BC-4E6B-9F34-E01E06DCF76E}" dt="2023-04-27T06:16:26.826" v="330" actId="1037"/>
          <ac:spMkLst>
            <pc:docMk/>
            <pc:sldMk cId="669194668" sldId="902"/>
            <ac:spMk id="30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6:16:12.394" v="264" actId="478"/>
          <ac:spMkLst>
            <pc:docMk/>
            <pc:sldMk cId="669194668" sldId="902"/>
            <ac:spMk id="31" creationId="{00000000-0000-0000-0000-000000000000}"/>
          </ac:spMkLst>
        </pc:spChg>
        <pc:grpChg chg="del">
          <ac:chgData name="Chua Tony" userId="7deebee6-df33-46fc-9851-5225166dac4f" providerId="ADAL" clId="{EFE720D0-D4BC-4E6B-9F34-E01E06DCF76E}" dt="2023-04-27T06:16:17.953" v="267" actId="478"/>
          <ac:grpSpMkLst>
            <pc:docMk/>
            <pc:sldMk cId="669194668" sldId="902"/>
            <ac:grpSpMk id="19" creationId="{00000000-0000-0000-0000-000000000000}"/>
          </ac:grpSpMkLst>
        </pc:grpChg>
        <pc:picChg chg="del">
          <ac:chgData name="Chua Tony" userId="7deebee6-df33-46fc-9851-5225166dac4f" providerId="ADAL" clId="{EFE720D0-D4BC-4E6B-9F34-E01E06DCF76E}" dt="2023-04-27T06:16:16.250" v="266" actId="478"/>
          <ac:picMkLst>
            <pc:docMk/>
            <pc:sldMk cId="669194668" sldId="902"/>
            <ac:picMk id="24" creationId="{00000000-0000-0000-0000-000000000000}"/>
          </ac:picMkLst>
        </pc:picChg>
        <pc:cxnChg chg="del">
          <ac:chgData name="Chua Tony" userId="7deebee6-df33-46fc-9851-5225166dac4f" providerId="ADAL" clId="{EFE720D0-D4BC-4E6B-9F34-E01E06DCF76E}" dt="2023-04-27T06:16:15.218" v="265" actId="478"/>
          <ac:cxnSpMkLst>
            <pc:docMk/>
            <pc:sldMk cId="669194668" sldId="902"/>
            <ac:cxnSpMk id="27" creationId="{00000000-0000-0000-0000-000000000000}"/>
          </ac:cxnSpMkLst>
        </pc:cxnChg>
      </pc:sldChg>
      <pc:sldChg chg="addSp delSp modSp mod modClrScheme chgLayout">
        <pc:chgData name="Chua Tony" userId="7deebee6-df33-46fc-9851-5225166dac4f" providerId="ADAL" clId="{EFE720D0-D4BC-4E6B-9F34-E01E06DCF76E}" dt="2023-04-27T06:22:21.312" v="475" actId="20577"/>
        <pc:sldMkLst>
          <pc:docMk/>
          <pc:sldMk cId="34890027" sldId="903"/>
        </pc:sldMkLst>
        <pc:spChg chg="add del mod ord">
          <ac:chgData name="Chua Tony" userId="7deebee6-df33-46fc-9851-5225166dac4f" providerId="ADAL" clId="{EFE720D0-D4BC-4E6B-9F34-E01E06DCF76E}" dt="2023-04-27T06:21:46.390" v="381" actId="478"/>
          <ac:spMkLst>
            <pc:docMk/>
            <pc:sldMk cId="34890027" sldId="903"/>
            <ac:spMk id="3" creationId="{E38B0D0B-83CF-D6D2-DFB3-052CEA63502A}"/>
          </ac:spMkLst>
        </pc:spChg>
        <pc:spChg chg="mod">
          <ac:chgData name="Chua Tony" userId="7deebee6-df33-46fc-9851-5225166dac4f" providerId="ADAL" clId="{EFE720D0-D4BC-4E6B-9F34-E01E06DCF76E}" dt="2023-04-27T06:22:21.312" v="475" actId="20577"/>
          <ac:spMkLst>
            <pc:docMk/>
            <pc:sldMk cId="34890027" sldId="903"/>
            <ac:spMk id="14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6:21:52.870" v="385" actId="478"/>
          <ac:spMkLst>
            <pc:docMk/>
            <pc:sldMk cId="34890027" sldId="903"/>
            <ac:spMk id="25" creationId="{00000000-0000-0000-0000-000000000000}"/>
          </ac:spMkLst>
        </pc:spChg>
        <pc:spChg chg="mod">
          <ac:chgData name="Chua Tony" userId="7deebee6-df33-46fc-9851-5225166dac4f" providerId="ADAL" clId="{EFE720D0-D4BC-4E6B-9F34-E01E06DCF76E}" dt="2023-04-27T06:22:05.134" v="439" actId="1037"/>
          <ac:spMkLst>
            <pc:docMk/>
            <pc:sldMk cId="34890027" sldId="903"/>
            <ac:spMk id="30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6:21:51.038" v="383" actId="478"/>
          <ac:spMkLst>
            <pc:docMk/>
            <pc:sldMk cId="34890027" sldId="903"/>
            <ac:spMk id="31" creationId="{00000000-0000-0000-0000-000000000000}"/>
          </ac:spMkLst>
        </pc:spChg>
        <pc:grpChg chg="del">
          <ac:chgData name="Chua Tony" userId="7deebee6-df33-46fc-9851-5225166dac4f" providerId="ADAL" clId="{EFE720D0-D4BC-4E6B-9F34-E01E06DCF76E}" dt="2023-04-27T06:21:48.902" v="382" actId="478"/>
          <ac:grpSpMkLst>
            <pc:docMk/>
            <pc:sldMk cId="34890027" sldId="903"/>
            <ac:grpSpMk id="19" creationId="{00000000-0000-0000-0000-000000000000}"/>
          </ac:grpSpMkLst>
        </pc:grpChg>
        <pc:picChg chg="mod">
          <ac:chgData name="Chua Tony" userId="7deebee6-df33-46fc-9851-5225166dac4f" providerId="ADAL" clId="{EFE720D0-D4BC-4E6B-9F34-E01E06DCF76E}" dt="2023-04-27T06:22:13.112" v="473" actId="1038"/>
          <ac:picMkLst>
            <pc:docMk/>
            <pc:sldMk cId="34890027" sldId="903"/>
            <ac:picMk id="2" creationId="{00000000-0000-0000-0000-000000000000}"/>
          </ac:picMkLst>
        </pc:picChg>
        <pc:picChg chg="del">
          <ac:chgData name="Chua Tony" userId="7deebee6-df33-46fc-9851-5225166dac4f" providerId="ADAL" clId="{EFE720D0-D4BC-4E6B-9F34-E01E06DCF76E}" dt="2023-04-27T06:21:54.358" v="386" actId="478"/>
          <ac:picMkLst>
            <pc:docMk/>
            <pc:sldMk cId="34890027" sldId="903"/>
            <ac:picMk id="24" creationId="{00000000-0000-0000-0000-000000000000}"/>
          </ac:picMkLst>
        </pc:picChg>
        <pc:cxnChg chg="del">
          <ac:chgData name="Chua Tony" userId="7deebee6-df33-46fc-9851-5225166dac4f" providerId="ADAL" clId="{EFE720D0-D4BC-4E6B-9F34-E01E06DCF76E}" dt="2023-04-27T06:21:51.854" v="384" actId="478"/>
          <ac:cxnSpMkLst>
            <pc:docMk/>
            <pc:sldMk cId="34890027" sldId="903"/>
            <ac:cxnSpMk id="27" creationId="{00000000-0000-0000-0000-000000000000}"/>
          </ac:cxnSpMkLst>
        </pc:cxnChg>
      </pc:sldChg>
      <pc:sldChg chg="addSp delSp modSp mod modClrScheme chgLayout">
        <pc:chgData name="Chua Tony" userId="7deebee6-df33-46fc-9851-5225166dac4f" providerId="ADAL" clId="{EFE720D0-D4BC-4E6B-9F34-E01E06DCF76E}" dt="2023-04-27T06:23:32.999" v="598" actId="1036"/>
        <pc:sldMkLst>
          <pc:docMk/>
          <pc:sldMk cId="954995722" sldId="904"/>
        </pc:sldMkLst>
        <pc:spChg chg="add del mod ord">
          <ac:chgData name="Chua Tony" userId="7deebee6-df33-46fc-9851-5225166dac4f" providerId="ADAL" clId="{EFE720D0-D4BC-4E6B-9F34-E01E06DCF76E}" dt="2023-04-27T06:22:28.502" v="476" actId="478"/>
          <ac:spMkLst>
            <pc:docMk/>
            <pc:sldMk cId="954995722" sldId="904"/>
            <ac:spMk id="5" creationId="{32AB11BD-DED5-62AB-5A3D-9D2BAE2CE0AC}"/>
          </ac:spMkLst>
        </pc:spChg>
        <pc:spChg chg="mod">
          <ac:chgData name="Chua Tony" userId="7deebee6-df33-46fc-9851-5225166dac4f" providerId="ADAL" clId="{EFE720D0-D4BC-4E6B-9F34-E01E06DCF76E}" dt="2023-04-27T06:23:32.999" v="598" actId="1036"/>
          <ac:spMkLst>
            <pc:docMk/>
            <pc:sldMk cId="954995722" sldId="904"/>
            <ac:spMk id="14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6:22:32.286" v="479" actId="478"/>
          <ac:spMkLst>
            <pc:docMk/>
            <pc:sldMk cId="954995722" sldId="904"/>
            <ac:spMk id="25" creationId="{00000000-0000-0000-0000-000000000000}"/>
          </ac:spMkLst>
        </pc:spChg>
        <pc:spChg chg="mod">
          <ac:chgData name="Chua Tony" userId="7deebee6-df33-46fc-9851-5225166dac4f" providerId="ADAL" clId="{EFE720D0-D4BC-4E6B-9F34-E01E06DCF76E}" dt="2023-04-27T06:23:10.156" v="564" actId="1038"/>
          <ac:spMkLst>
            <pc:docMk/>
            <pc:sldMk cId="954995722" sldId="904"/>
            <ac:spMk id="29" creationId="{00000000-0000-0000-0000-000000000000}"/>
          </ac:spMkLst>
        </pc:spChg>
        <pc:spChg chg="mod">
          <ac:chgData name="Chua Tony" userId="7deebee6-df33-46fc-9851-5225166dac4f" providerId="ADAL" clId="{EFE720D0-D4BC-4E6B-9F34-E01E06DCF76E}" dt="2023-04-27T06:23:18.765" v="567" actId="1037"/>
          <ac:spMkLst>
            <pc:docMk/>
            <pc:sldMk cId="954995722" sldId="904"/>
            <ac:spMk id="30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6:22:30.566" v="477" actId="478"/>
          <ac:spMkLst>
            <pc:docMk/>
            <pc:sldMk cId="954995722" sldId="904"/>
            <ac:spMk id="31" creationId="{00000000-0000-0000-0000-000000000000}"/>
          </ac:spMkLst>
        </pc:spChg>
        <pc:grpChg chg="del">
          <ac:chgData name="Chua Tony" userId="7deebee6-df33-46fc-9851-5225166dac4f" providerId="ADAL" clId="{EFE720D0-D4BC-4E6B-9F34-E01E06DCF76E}" dt="2023-04-27T06:22:35.598" v="481" actId="478"/>
          <ac:grpSpMkLst>
            <pc:docMk/>
            <pc:sldMk cId="954995722" sldId="904"/>
            <ac:grpSpMk id="19" creationId="{00000000-0000-0000-0000-000000000000}"/>
          </ac:grpSpMkLst>
        </pc:grpChg>
        <pc:picChg chg="del">
          <ac:chgData name="Chua Tony" userId="7deebee6-df33-46fc-9851-5225166dac4f" providerId="ADAL" clId="{EFE720D0-D4BC-4E6B-9F34-E01E06DCF76E}" dt="2023-04-27T06:22:33.389" v="480" actId="478"/>
          <ac:picMkLst>
            <pc:docMk/>
            <pc:sldMk cId="954995722" sldId="904"/>
            <ac:picMk id="24" creationId="{00000000-0000-0000-0000-000000000000}"/>
          </ac:picMkLst>
        </pc:picChg>
        <pc:cxnChg chg="del">
          <ac:chgData name="Chua Tony" userId="7deebee6-df33-46fc-9851-5225166dac4f" providerId="ADAL" clId="{EFE720D0-D4BC-4E6B-9F34-E01E06DCF76E}" dt="2023-04-27T06:22:31.558" v="478" actId="478"/>
          <ac:cxnSpMkLst>
            <pc:docMk/>
            <pc:sldMk cId="954995722" sldId="904"/>
            <ac:cxnSpMk id="27" creationId="{00000000-0000-0000-0000-000000000000}"/>
          </ac:cxnSpMkLst>
        </pc:cxnChg>
      </pc:sldChg>
      <pc:sldChg chg="addSp delSp modSp mod modClrScheme chgLayout">
        <pc:chgData name="Chua Tony" userId="7deebee6-df33-46fc-9851-5225166dac4f" providerId="ADAL" clId="{EFE720D0-D4BC-4E6B-9F34-E01E06DCF76E}" dt="2023-04-27T06:24:15.581" v="723" actId="14100"/>
        <pc:sldMkLst>
          <pc:docMk/>
          <pc:sldMk cId="3481766773" sldId="905"/>
        </pc:sldMkLst>
        <pc:spChg chg="add del mod ord">
          <ac:chgData name="Chua Tony" userId="7deebee6-df33-46fc-9851-5225166dac4f" providerId="ADAL" clId="{EFE720D0-D4BC-4E6B-9F34-E01E06DCF76E}" dt="2023-04-27T06:23:47.966" v="603" actId="478"/>
          <ac:spMkLst>
            <pc:docMk/>
            <pc:sldMk cId="3481766773" sldId="905"/>
            <ac:spMk id="3" creationId="{52ED2D59-AAFB-86DD-70BF-6AA1BC1AE2DB}"/>
          </ac:spMkLst>
        </pc:spChg>
        <pc:spChg chg="mod">
          <ac:chgData name="Chua Tony" userId="7deebee6-df33-46fc-9851-5225166dac4f" providerId="ADAL" clId="{EFE720D0-D4BC-4E6B-9F34-E01E06DCF76E}" dt="2023-04-27T06:24:15.581" v="723" actId="14100"/>
          <ac:spMkLst>
            <pc:docMk/>
            <pc:sldMk cId="3481766773" sldId="905"/>
            <ac:spMk id="14" creationId="{8D8450D0-F0C1-4575-A734-4238402F1085}"/>
          </ac:spMkLst>
        </pc:spChg>
        <pc:spChg chg="del">
          <ac:chgData name="Chua Tony" userId="7deebee6-df33-46fc-9851-5225166dac4f" providerId="ADAL" clId="{EFE720D0-D4BC-4E6B-9F34-E01E06DCF76E}" dt="2023-04-27T06:23:49.901" v="604" actId="478"/>
          <ac:spMkLst>
            <pc:docMk/>
            <pc:sldMk cId="3481766773" sldId="905"/>
            <ac:spMk id="25" creationId="{00000000-0000-0000-0000-000000000000}"/>
          </ac:spMkLst>
        </pc:spChg>
        <pc:spChg chg="mod">
          <ac:chgData name="Chua Tony" userId="7deebee6-df33-46fc-9851-5225166dac4f" providerId="ADAL" clId="{EFE720D0-D4BC-4E6B-9F34-E01E06DCF76E}" dt="2023-04-27T06:24:02.941" v="670" actId="1037"/>
          <ac:spMkLst>
            <pc:docMk/>
            <pc:sldMk cId="3481766773" sldId="905"/>
            <ac:spMk id="30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6:23:51.165" v="605" actId="478"/>
          <ac:spMkLst>
            <pc:docMk/>
            <pc:sldMk cId="3481766773" sldId="905"/>
            <ac:spMk id="31" creationId="{00000000-0000-0000-0000-000000000000}"/>
          </ac:spMkLst>
        </pc:spChg>
        <pc:grpChg chg="del">
          <ac:chgData name="Chua Tony" userId="7deebee6-df33-46fc-9851-5225166dac4f" providerId="ADAL" clId="{EFE720D0-D4BC-4E6B-9F34-E01E06DCF76E}" dt="2023-04-27T06:23:55.757" v="608" actId="478"/>
          <ac:grpSpMkLst>
            <pc:docMk/>
            <pc:sldMk cId="3481766773" sldId="905"/>
            <ac:grpSpMk id="19" creationId="{00000000-0000-0000-0000-000000000000}"/>
          </ac:grpSpMkLst>
        </pc:grpChg>
        <pc:picChg chg="del">
          <ac:chgData name="Chua Tony" userId="7deebee6-df33-46fc-9851-5225166dac4f" providerId="ADAL" clId="{EFE720D0-D4BC-4E6B-9F34-E01E06DCF76E}" dt="2023-04-27T06:23:52.205" v="606" actId="478"/>
          <ac:picMkLst>
            <pc:docMk/>
            <pc:sldMk cId="3481766773" sldId="905"/>
            <ac:picMk id="24" creationId="{00000000-0000-0000-0000-000000000000}"/>
          </ac:picMkLst>
        </pc:picChg>
        <pc:cxnChg chg="del">
          <ac:chgData name="Chua Tony" userId="7deebee6-df33-46fc-9851-5225166dac4f" providerId="ADAL" clId="{EFE720D0-D4BC-4E6B-9F34-E01E06DCF76E}" dt="2023-04-27T06:23:53.086" v="607" actId="478"/>
          <ac:cxnSpMkLst>
            <pc:docMk/>
            <pc:sldMk cId="3481766773" sldId="905"/>
            <ac:cxnSpMk id="27" creationId="{00000000-0000-0000-0000-000000000000}"/>
          </ac:cxnSpMkLst>
        </pc:cxnChg>
      </pc:sldChg>
      <pc:sldChg chg="addSp delSp modSp mod modClrScheme chgLayout">
        <pc:chgData name="Chua Tony" userId="7deebee6-df33-46fc-9851-5225166dac4f" providerId="ADAL" clId="{EFE720D0-D4BC-4E6B-9F34-E01E06DCF76E}" dt="2023-04-27T06:25:33.361" v="817" actId="1037"/>
        <pc:sldMkLst>
          <pc:docMk/>
          <pc:sldMk cId="133660185" sldId="906"/>
        </pc:sldMkLst>
        <pc:spChg chg="add del mod ord">
          <ac:chgData name="Chua Tony" userId="7deebee6-df33-46fc-9851-5225166dac4f" providerId="ADAL" clId="{EFE720D0-D4BC-4E6B-9F34-E01E06DCF76E}" dt="2023-04-27T06:24:24.061" v="724" actId="478"/>
          <ac:spMkLst>
            <pc:docMk/>
            <pc:sldMk cId="133660185" sldId="906"/>
            <ac:spMk id="2" creationId="{702FD7F5-1725-9E55-4EA8-480449A76C6D}"/>
          </ac:spMkLst>
        </pc:spChg>
        <pc:spChg chg="mod">
          <ac:chgData name="Chua Tony" userId="7deebee6-df33-46fc-9851-5225166dac4f" providerId="ADAL" clId="{EFE720D0-D4BC-4E6B-9F34-E01E06DCF76E}" dt="2023-04-27T06:24:38.825" v="731" actId="14100"/>
          <ac:spMkLst>
            <pc:docMk/>
            <pc:sldMk cId="133660185" sldId="906"/>
            <ac:spMk id="14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6:24:28.422" v="726" actId="478"/>
          <ac:spMkLst>
            <pc:docMk/>
            <pc:sldMk cId="133660185" sldId="906"/>
            <ac:spMk id="25" creationId="{00000000-0000-0000-0000-000000000000}"/>
          </ac:spMkLst>
        </pc:spChg>
        <pc:spChg chg="mod">
          <ac:chgData name="Chua Tony" userId="7deebee6-df33-46fc-9851-5225166dac4f" providerId="ADAL" clId="{EFE720D0-D4BC-4E6B-9F34-E01E06DCF76E}" dt="2023-04-27T06:25:33.361" v="817" actId="1037"/>
          <ac:spMkLst>
            <pc:docMk/>
            <pc:sldMk cId="133660185" sldId="906"/>
            <ac:spMk id="30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6:24:30.910" v="729" actId="478"/>
          <ac:spMkLst>
            <pc:docMk/>
            <pc:sldMk cId="133660185" sldId="906"/>
            <ac:spMk id="31" creationId="{00000000-0000-0000-0000-000000000000}"/>
          </ac:spMkLst>
        </pc:spChg>
        <pc:grpChg chg="del">
          <ac:chgData name="Chua Tony" userId="7deebee6-df33-46fc-9851-5225166dac4f" providerId="ADAL" clId="{EFE720D0-D4BC-4E6B-9F34-E01E06DCF76E}" dt="2023-04-27T06:24:27.029" v="725" actId="478"/>
          <ac:grpSpMkLst>
            <pc:docMk/>
            <pc:sldMk cId="133660185" sldId="906"/>
            <ac:grpSpMk id="19" creationId="{00000000-0000-0000-0000-000000000000}"/>
          </ac:grpSpMkLst>
        </pc:grpChg>
        <pc:picChg chg="mod">
          <ac:chgData name="Chua Tony" userId="7deebee6-df33-46fc-9851-5225166dac4f" providerId="ADAL" clId="{EFE720D0-D4BC-4E6B-9F34-E01E06DCF76E}" dt="2023-04-27T06:24:43.733" v="766" actId="1036"/>
          <ac:picMkLst>
            <pc:docMk/>
            <pc:sldMk cId="133660185" sldId="906"/>
            <ac:picMk id="15" creationId="{00000000-0000-0000-0000-000000000000}"/>
          </ac:picMkLst>
        </pc:picChg>
        <pc:picChg chg="del">
          <ac:chgData name="Chua Tony" userId="7deebee6-df33-46fc-9851-5225166dac4f" providerId="ADAL" clId="{EFE720D0-D4BC-4E6B-9F34-E01E06DCF76E}" dt="2023-04-27T06:24:29.093" v="727" actId="478"/>
          <ac:picMkLst>
            <pc:docMk/>
            <pc:sldMk cId="133660185" sldId="906"/>
            <ac:picMk id="24" creationId="{00000000-0000-0000-0000-000000000000}"/>
          </ac:picMkLst>
        </pc:picChg>
        <pc:cxnChg chg="del">
          <ac:chgData name="Chua Tony" userId="7deebee6-df33-46fc-9851-5225166dac4f" providerId="ADAL" clId="{EFE720D0-D4BC-4E6B-9F34-E01E06DCF76E}" dt="2023-04-27T06:24:30.206" v="728" actId="478"/>
          <ac:cxnSpMkLst>
            <pc:docMk/>
            <pc:sldMk cId="133660185" sldId="906"/>
            <ac:cxnSpMk id="27" creationId="{00000000-0000-0000-0000-000000000000}"/>
          </ac:cxnSpMkLst>
        </pc:cxnChg>
      </pc:sldChg>
      <pc:sldChg chg="addSp delSp modSp mod modClrScheme chgLayout">
        <pc:chgData name="Chua Tony" userId="7deebee6-df33-46fc-9851-5225166dac4f" providerId="ADAL" clId="{EFE720D0-D4BC-4E6B-9F34-E01E06DCF76E}" dt="2023-04-27T06:26:14.213" v="914" actId="1037"/>
        <pc:sldMkLst>
          <pc:docMk/>
          <pc:sldMk cId="3911629848" sldId="907"/>
        </pc:sldMkLst>
        <pc:spChg chg="add del mod ord">
          <ac:chgData name="Chua Tony" userId="7deebee6-df33-46fc-9851-5225166dac4f" providerId="ADAL" clId="{EFE720D0-D4BC-4E6B-9F34-E01E06DCF76E}" dt="2023-04-27T06:25:59.629" v="872" actId="478"/>
          <ac:spMkLst>
            <pc:docMk/>
            <pc:sldMk cId="3911629848" sldId="907"/>
            <ac:spMk id="2" creationId="{F61D4D40-0D52-60F1-EE8B-2561A61F2E69}"/>
          </ac:spMkLst>
        </pc:spChg>
        <pc:spChg chg="mod">
          <ac:chgData name="Chua Tony" userId="7deebee6-df33-46fc-9851-5225166dac4f" providerId="ADAL" clId="{EFE720D0-D4BC-4E6B-9F34-E01E06DCF76E}" dt="2023-04-27T06:26:14.213" v="914" actId="1037"/>
          <ac:spMkLst>
            <pc:docMk/>
            <pc:sldMk cId="3911629848" sldId="907"/>
            <ac:spMk id="14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6:25:42.077" v="819" actId="478"/>
          <ac:spMkLst>
            <pc:docMk/>
            <pc:sldMk cId="3911629848" sldId="907"/>
            <ac:spMk id="25" creationId="{00000000-0000-0000-0000-000000000000}"/>
          </ac:spMkLst>
        </pc:spChg>
        <pc:spChg chg="mod">
          <ac:chgData name="Chua Tony" userId="7deebee6-df33-46fc-9851-5225166dac4f" providerId="ADAL" clId="{EFE720D0-D4BC-4E6B-9F34-E01E06DCF76E}" dt="2023-04-27T06:25:56.877" v="871" actId="1038"/>
          <ac:spMkLst>
            <pc:docMk/>
            <pc:sldMk cId="3911629848" sldId="907"/>
            <ac:spMk id="30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6:25:44.909" v="821" actId="478"/>
          <ac:spMkLst>
            <pc:docMk/>
            <pc:sldMk cId="3911629848" sldId="907"/>
            <ac:spMk id="31" creationId="{00000000-0000-0000-0000-000000000000}"/>
          </ac:spMkLst>
        </pc:spChg>
        <pc:grpChg chg="del">
          <ac:chgData name="Chua Tony" userId="7deebee6-df33-46fc-9851-5225166dac4f" providerId="ADAL" clId="{EFE720D0-D4BC-4E6B-9F34-E01E06DCF76E}" dt="2023-04-27T06:25:48.261" v="822" actId="478"/>
          <ac:grpSpMkLst>
            <pc:docMk/>
            <pc:sldMk cId="3911629848" sldId="907"/>
            <ac:grpSpMk id="19" creationId="{00000000-0000-0000-0000-000000000000}"/>
          </ac:grpSpMkLst>
        </pc:grpChg>
        <pc:picChg chg="mod">
          <ac:chgData name="Chua Tony" userId="7deebee6-df33-46fc-9851-5225166dac4f" providerId="ADAL" clId="{EFE720D0-D4BC-4E6B-9F34-E01E06DCF76E}" dt="2023-04-27T06:26:07.471" v="876" actId="1038"/>
          <ac:picMkLst>
            <pc:docMk/>
            <pc:sldMk cId="3911629848" sldId="907"/>
            <ac:picMk id="15" creationId="{00000000-0000-0000-0000-000000000000}"/>
          </ac:picMkLst>
        </pc:picChg>
        <pc:picChg chg="del">
          <ac:chgData name="Chua Tony" userId="7deebee6-df33-46fc-9851-5225166dac4f" providerId="ADAL" clId="{EFE720D0-D4BC-4E6B-9F34-E01E06DCF76E}" dt="2023-04-27T06:25:42.701" v="820" actId="478"/>
          <ac:picMkLst>
            <pc:docMk/>
            <pc:sldMk cId="3911629848" sldId="907"/>
            <ac:picMk id="24" creationId="{00000000-0000-0000-0000-000000000000}"/>
          </ac:picMkLst>
        </pc:picChg>
        <pc:cxnChg chg="del">
          <ac:chgData name="Chua Tony" userId="7deebee6-df33-46fc-9851-5225166dac4f" providerId="ADAL" clId="{EFE720D0-D4BC-4E6B-9F34-E01E06DCF76E}" dt="2023-04-27T06:25:41.365" v="818" actId="478"/>
          <ac:cxnSpMkLst>
            <pc:docMk/>
            <pc:sldMk cId="3911629848" sldId="907"/>
            <ac:cxnSpMk id="27" creationId="{00000000-0000-0000-0000-000000000000}"/>
          </ac:cxnSpMkLst>
        </pc:cxnChg>
      </pc:sldChg>
      <pc:sldChg chg="addSp delSp modSp mod modClrScheme chgLayout">
        <pc:chgData name="Chua Tony" userId="7deebee6-df33-46fc-9851-5225166dac4f" providerId="ADAL" clId="{EFE720D0-D4BC-4E6B-9F34-E01E06DCF76E}" dt="2023-04-27T06:27:01.453" v="1018" actId="1037"/>
        <pc:sldMkLst>
          <pc:docMk/>
          <pc:sldMk cId="1457250862" sldId="908"/>
        </pc:sldMkLst>
        <pc:spChg chg="add del mod ord">
          <ac:chgData name="Chua Tony" userId="7deebee6-df33-46fc-9851-5225166dac4f" providerId="ADAL" clId="{EFE720D0-D4BC-4E6B-9F34-E01E06DCF76E}" dt="2023-04-27T06:26:25.677" v="915" actId="478"/>
          <ac:spMkLst>
            <pc:docMk/>
            <pc:sldMk cId="1457250862" sldId="908"/>
            <ac:spMk id="2" creationId="{1208D3D5-1EC8-76B9-CEE2-8F5C34853933}"/>
          </ac:spMkLst>
        </pc:spChg>
        <pc:spChg chg="mod">
          <ac:chgData name="Chua Tony" userId="7deebee6-df33-46fc-9851-5225166dac4f" providerId="ADAL" clId="{EFE720D0-D4BC-4E6B-9F34-E01E06DCF76E}" dt="2023-04-27T06:26:50.476" v="1000" actId="1037"/>
          <ac:spMkLst>
            <pc:docMk/>
            <pc:sldMk cId="1457250862" sldId="908"/>
            <ac:spMk id="14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6:26:29.076" v="917" actId="478"/>
          <ac:spMkLst>
            <pc:docMk/>
            <pc:sldMk cId="1457250862" sldId="908"/>
            <ac:spMk id="25" creationId="{00000000-0000-0000-0000-000000000000}"/>
          </ac:spMkLst>
        </pc:spChg>
        <pc:spChg chg="mod">
          <ac:chgData name="Chua Tony" userId="7deebee6-df33-46fc-9851-5225166dac4f" providerId="ADAL" clId="{EFE720D0-D4BC-4E6B-9F34-E01E06DCF76E}" dt="2023-04-27T06:26:42.916" v="975" actId="1038"/>
          <ac:spMkLst>
            <pc:docMk/>
            <pc:sldMk cId="1457250862" sldId="908"/>
            <ac:spMk id="30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6:26:31.101" v="919" actId="478"/>
          <ac:spMkLst>
            <pc:docMk/>
            <pc:sldMk cId="1457250862" sldId="908"/>
            <ac:spMk id="31" creationId="{00000000-0000-0000-0000-000000000000}"/>
          </ac:spMkLst>
        </pc:spChg>
        <pc:grpChg chg="del">
          <ac:chgData name="Chua Tony" userId="7deebee6-df33-46fc-9851-5225166dac4f" providerId="ADAL" clId="{EFE720D0-D4BC-4E6B-9F34-E01E06DCF76E}" dt="2023-04-27T06:26:34.405" v="921" actId="478"/>
          <ac:grpSpMkLst>
            <pc:docMk/>
            <pc:sldMk cId="1457250862" sldId="908"/>
            <ac:grpSpMk id="19" creationId="{00000000-0000-0000-0000-000000000000}"/>
          </ac:grpSpMkLst>
        </pc:grpChg>
        <pc:picChg chg="mod">
          <ac:chgData name="Chua Tony" userId="7deebee6-df33-46fc-9851-5225166dac4f" providerId="ADAL" clId="{EFE720D0-D4BC-4E6B-9F34-E01E06DCF76E}" dt="2023-04-27T06:27:01.453" v="1018" actId="1037"/>
          <ac:picMkLst>
            <pc:docMk/>
            <pc:sldMk cId="1457250862" sldId="908"/>
            <ac:picMk id="15" creationId="{00000000-0000-0000-0000-000000000000}"/>
          </ac:picMkLst>
        </pc:picChg>
        <pc:picChg chg="del">
          <ac:chgData name="Chua Tony" userId="7deebee6-df33-46fc-9851-5225166dac4f" providerId="ADAL" clId="{EFE720D0-D4BC-4E6B-9F34-E01E06DCF76E}" dt="2023-04-27T06:26:30.189" v="918" actId="478"/>
          <ac:picMkLst>
            <pc:docMk/>
            <pc:sldMk cId="1457250862" sldId="908"/>
            <ac:picMk id="24" creationId="{00000000-0000-0000-0000-000000000000}"/>
          </ac:picMkLst>
        </pc:picChg>
        <pc:cxnChg chg="del">
          <ac:chgData name="Chua Tony" userId="7deebee6-df33-46fc-9851-5225166dac4f" providerId="ADAL" clId="{EFE720D0-D4BC-4E6B-9F34-E01E06DCF76E}" dt="2023-04-27T06:26:28.341" v="916" actId="478"/>
          <ac:cxnSpMkLst>
            <pc:docMk/>
            <pc:sldMk cId="1457250862" sldId="908"/>
            <ac:cxnSpMk id="27" creationId="{00000000-0000-0000-0000-000000000000}"/>
          </ac:cxnSpMkLst>
        </pc:cxnChg>
      </pc:sldChg>
      <pc:sldChg chg="addSp delSp modSp mod modClrScheme chgLayout">
        <pc:chgData name="Chua Tony" userId="7deebee6-df33-46fc-9851-5225166dac4f" providerId="ADAL" clId="{EFE720D0-D4BC-4E6B-9F34-E01E06DCF76E}" dt="2023-04-27T07:35:03.140" v="1139" actId="1038"/>
        <pc:sldMkLst>
          <pc:docMk/>
          <pc:sldMk cId="842185080" sldId="909"/>
        </pc:sldMkLst>
        <pc:spChg chg="add del mod ord">
          <ac:chgData name="Chua Tony" userId="7deebee6-df33-46fc-9851-5225166dac4f" providerId="ADAL" clId="{EFE720D0-D4BC-4E6B-9F34-E01E06DCF76E}" dt="2023-04-27T06:27:21.332" v="1023" actId="478"/>
          <ac:spMkLst>
            <pc:docMk/>
            <pc:sldMk cId="842185080" sldId="909"/>
            <ac:spMk id="2" creationId="{08E8A2E1-9385-8807-B013-E8BDEDE485B4}"/>
          </ac:spMkLst>
        </pc:spChg>
        <pc:spChg chg="del">
          <ac:chgData name="Chua Tony" userId="7deebee6-df33-46fc-9851-5225166dac4f" providerId="ADAL" clId="{EFE720D0-D4BC-4E6B-9F34-E01E06DCF76E}" dt="2023-04-27T06:27:12.693" v="1019" actId="478"/>
          <ac:spMkLst>
            <pc:docMk/>
            <pc:sldMk cId="842185080" sldId="909"/>
            <ac:spMk id="25" creationId="{00000000-0000-0000-0000-000000000000}"/>
          </ac:spMkLst>
        </pc:spChg>
        <pc:spChg chg="mod">
          <ac:chgData name="Chua Tony" userId="7deebee6-df33-46fc-9851-5225166dac4f" providerId="ADAL" clId="{EFE720D0-D4BC-4E6B-9F34-E01E06DCF76E}" dt="2023-04-27T06:27:35.437" v="1083" actId="1037"/>
          <ac:spMkLst>
            <pc:docMk/>
            <pc:sldMk cId="842185080" sldId="909"/>
            <ac:spMk id="30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6:27:18.205" v="1022" actId="478"/>
          <ac:spMkLst>
            <pc:docMk/>
            <pc:sldMk cId="842185080" sldId="909"/>
            <ac:spMk id="31" creationId="{00000000-0000-0000-0000-000000000000}"/>
          </ac:spMkLst>
        </pc:spChg>
        <pc:grpChg chg="del">
          <ac:chgData name="Chua Tony" userId="7deebee6-df33-46fc-9851-5225166dac4f" providerId="ADAL" clId="{EFE720D0-D4BC-4E6B-9F34-E01E06DCF76E}" dt="2023-04-27T06:27:24.500" v="1024" actId="478"/>
          <ac:grpSpMkLst>
            <pc:docMk/>
            <pc:sldMk cId="842185080" sldId="909"/>
            <ac:grpSpMk id="19" creationId="{00000000-0000-0000-0000-000000000000}"/>
          </ac:grpSpMkLst>
        </pc:grpChg>
        <pc:picChg chg="mod">
          <ac:chgData name="Chua Tony" userId="7deebee6-df33-46fc-9851-5225166dac4f" providerId="ADAL" clId="{EFE720D0-D4BC-4E6B-9F34-E01E06DCF76E}" dt="2023-04-27T07:35:03.140" v="1139" actId="1038"/>
          <ac:picMkLst>
            <pc:docMk/>
            <pc:sldMk cId="842185080" sldId="909"/>
            <ac:picMk id="15" creationId="{00000000-0000-0000-0000-000000000000}"/>
          </ac:picMkLst>
        </pc:picChg>
        <pc:picChg chg="add del mod">
          <ac:chgData name="Chua Tony" userId="7deebee6-df33-46fc-9851-5225166dac4f" providerId="ADAL" clId="{EFE720D0-D4BC-4E6B-9F34-E01E06DCF76E}" dt="2023-04-27T07:35:03.140" v="1139" actId="1038"/>
          <ac:picMkLst>
            <pc:docMk/>
            <pc:sldMk cId="842185080" sldId="909"/>
            <ac:picMk id="17" creationId="{00000000-0000-0000-0000-000000000000}"/>
          </ac:picMkLst>
        </pc:picChg>
        <pc:picChg chg="mod">
          <ac:chgData name="Chua Tony" userId="7deebee6-df33-46fc-9851-5225166dac4f" providerId="ADAL" clId="{EFE720D0-D4BC-4E6B-9F34-E01E06DCF76E}" dt="2023-04-27T07:35:03.140" v="1139" actId="1038"/>
          <ac:picMkLst>
            <pc:docMk/>
            <pc:sldMk cId="842185080" sldId="909"/>
            <ac:picMk id="18" creationId="{00000000-0000-0000-0000-000000000000}"/>
          </ac:picMkLst>
        </pc:picChg>
        <pc:picChg chg="del">
          <ac:chgData name="Chua Tony" userId="7deebee6-df33-46fc-9851-5225166dac4f" providerId="ADAL" clId="{EFE720D0-D4BC-4E6B-9F34-E01E06DCF76E}" dt="2023-04-27T06:27:13.628" v="1020" actId="478"/>
          <ac:picMkLst>
            <pc:docMk/>
            <pc:sldMk cId="842185080" sldId="909"/>
            <ac:picMk id="24" creationId="{00000000-0000-0000-0000-000000000000}"/>
          </ac:picMkLst>
        </pc:picChg>
        <pc:picChg chg="mod">
          <ac:chgData name="Chua Tony" userId="7deebee6-df33-46fc-9851-5225166dac4f" providerId="ADAL" clId="{EFE720D0-D4BC-4E6B-9F34-E01E06DCF76E}" dt="2023-04-27T07:35:03.140" v="1139" actId="1038"/>
          <ac:picMkLst>
            <pc:docMk/>
            <pc:sldMk cId="842185080" sldId="909"/>
            <ac:picMk id="26" creationId="{00000000-0000-0000-0000-000000000000}"/>
          </ac:picMkLst>
        </pc:picChg>
        <pc:cxnChg chg="del">
          <ac:chgData name="Chua Tony" userId="7deebee6-df33-46fc-9851-5225166dac4f" providerId="ADAL" clId="{EFE720D0-D4BC-4E6B-9F34-E01E06DCF76E}" dt="2023-04-27T06:27:15.524" v="1021" actId="478"/>
          <ac:cxnSpMkLst>
            <pc:docMk/>
            <pc:sldMk cId="842185080" sldId="909"/>
            <ac:cxnSpMk id="27" creationId="{00000000-0000-0000-0000-000000000000}"/>
          </ac:cxnSpMkLst>
        </pc:cxnChg>
      </pc:sldChg>
      <pc:sldChg chg="del">
        <pc:chgData name="Chua Tony" userId="7deebee6-df33-46fc-9851-5225166dac4f" providerId="ADAL" clId="{EFE720D0-D4BC-4E6B-9F34-E01E06DCF76E}" dt="2023-04-27T07:53:13.264" v="1372" actId="47"/>
        <pc:sldMkLst>
          <pc:docMk/>
          <pc:sldMk cId="1935589255" sldId="911"/>
        </pc:sldMkLst>
      </pc:sldChg>
      <pc:sldChg chg="addSp delSp modSp mod modClrScheme chgLayout">
        <pc:chgData name="Chua Tony" userId="7deebee6-df33-46fc-9851-5225166dac4f" providerId="ADAL" clId="{EFE720D0-D4BC-4E6B-9F34-E01E06DCF76E}" dt="2023-04-27T03:05:05.860" v="19" actId="478"/>
        <pc:sldMkLst>
          <pc:docMk/>
          <pc:sldMk cId="3731073221" sldId="912"/>
        </pc:sldMkLst>
        <pc:spChg chg="add del mod ord">
          <ac:chgData name="Chua Tony" userId="7deebee6-df33-46fc-9851-5225166dac4f" providerId="ADAL" clId="{EFE720D0-D4BC-4E6B-9F34-E01E06DCF76E}" dt="2023-04-27T03:04:57.400" v="16" actId="700"/>
          <ac:spMkLst>
            <pc:docMk/>
            <pc:sldMk cId="3731073221" sldId="912"/>
            <ac:spMk id="2" creationId="{109F15DB-92E0-A197-B31A-46502D3FC5D4}"/>
          </ac:spMkLst>
        </pc:spChg>
        <pc:spChg chg="add del mod ord">
          <ac:chgData name="Chua Tony" userId="7deebee6-df33-46fc-9851-5225166dac4f" providerId="ADAL" clId="{EFE720D0-D4BC-4E6B-9F34-E01E06DCF76E}" dt="2023-04-27T03:05:05.860" v="19" actId="478"/>
          <ac:spMkLst>
            <pc:docMk/>
            <pc:sldMk cId="3731073221" sldId="912"/>
            <ac:spMk id="3" creationId="{95409D2A-543D-2C1B-F423-7F955607EC76}"/>
          </ac:spMkLst>
        </pc:spChg>
        <pc:spChg chg="del">
          <ac:chgData name="Chua Tony" userId="7deebee6-df33-46fc-9851-5225166dac4f" providerId="ADAL" clId="{EFE720D0-D4BC-4E6B-9F34-E01E06DCF76E}" dt="2023-04-27T03:05:00.353" v="17" actId="478"/>
          <ac:spMkLst>
            <pc:docMk/>
            <pc:sldMk cId="3731073221" sldId="912"/>
            <ac:spMk id="6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3:05:02.228" v="18" actId="478"/>
          <ac:spMkLst>
            <pc:docMk/>
            <pc:sldMk cId="3731073221" sldId="912"/>
            <ac:spMk id="14" creationId="{00000000-0000-0000-0000-000000000000}"/>
          </ac:spMkLst>
        </pc:spChg>
      </pc:sldChg>
      <pc:sldChg chg="addSp delSp modSp mod modClrScheme chgLayout">
        <pc:chgData name="Chua Tony" userId="7deebee6-df33-46fc-9851-5225166dac4f" providerId="ADAL" clId="{EFE720D0-D4BC-4E6B-9F34-E01E06DCF76E}" dt="2023-04-27T06:15:50.827" v="261" actId="1037"/>
        <pc:sldMkLst>
          <pc:docMk/>
          <pc:sldMk cId="1514426697" sldId="913"/>
        </pc:sldMkLst>
        <pc:spChg chg="add del mod ord">
          <ac:chgData name="Chua Tony" userId="7deebee6-df33-46fc-9851-5225166dac4f" providerId="ADAL" clId="{EFE720D0-D4BC-4E6B-9F34-E01E06DCF76E}" dt="2023-04-27T06:15:27.763" v="182" actId="478"/>
          <ac:spMkLst>
            <pc:docMk/>
            <pc:sldMk cId="1514426697" sldId="913"/>
            <ac:spMk id="2" creationId="{5CCB1489-FB73-7854-3287-55BE56F8A7A5}"/>
          </ac:spMkLst>
        </pc:spChg>
        <pc:spChg chg="del">
          <ac:chgData name="Chua Tony" userId="7deebee6-df33-46fc-9851-5225166dac4f" providerId="ADAL" clId="{EFE720D0-D4BC-4E6B-9F34-E01E06DCF76E}" dt="2023-04-27T06:15:35.563" v="185" actId="478"/>
          <ac:spMkLst>
            <pc:docMk/>
            <pc:sldMk cId="1514426697" sldId="913"/>
            <ac:spMk id="25" creationId="{00000000-0000-0000-0000-000000000000}"/>
          </ac:spMkLst>
        </pc:spChg>
        <pc:spChg chg="mod">
          <ac:chgData name="Chua Tony" userId="7deebee6-df33-46fc-9851-5225166dac4f" providerId="ADAL" clId="{EFE720D0-D4BC-4E6B-9F34-E01E06DCF76E}" dt="2023-04-27T06:15:50.827" v="261" actId="1037"/>
          <ac:spMkLst>
            <pc:docMk/>
            <pc:sldMk cId="1514426697" sldId="913"/>
            <ac:spMk id="30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6:15:35.563" v="185" actId="478"/>
          <ac:spMkLst>
            <pc:docMk/>
            <pc:sldMk cId="1514426697" sldId="913"/>
            <ac:spMk id="31" creationId="{00000000-0000-0000-0000-000000000000}"/>
          </ac:spMkLst>
        </pc:spChg>
        <pc:grpChg chg="del">
          <ac:chgData name="Chua Tony" userId="7deebee6-df33-46fc-9851-5225166dac4f" providerId="ADAL" clId="{EFE720D0-D4BC-4E6B-9F34-E01E06DCF76E}" dt="2023-04-27T06:15:30.403" v="183" actId="478"/>
          <ac:grpSpMkLst>
            <pc:docMk/>
            <pc:sldMk cId="1514426697" sldId="913"/>
            <ac:grpSpMk id="19" creationId="{00000000-0000-0000-0000-000000000000}"/>
          </ac:grpSpMkLst>
        </pc:grpChg>
        <pc:picChg chg="del">
          <ac:chgData name="Chua Tony" userId="7deebee6-df33-46fc-9851-5225166dac4f" providerId="ADAL" clId="{EFE720D0-D4BC-4E6B-9F34-E01E06DCF76E}" dt="2023-04-27T06:15:37.099" v="186" actId="478"/>
          <ac:picMkLst>
            <pc:docMk/>
            <pc:sldMk cId="1514426697" sldId="913"/>
            <ac:picMk id="24" creationId="{00000000-0000-0000-0000-000000000000}"/>
          </ac:picMkLst>
        </pc:picChg>
        <pc:cxnChg chg="del mod">
          <ac:chgData name="Chua Tony" userId="7deebee6-df33-46fc-9851-5225166dac4f" providerId="ADAL" clId="{EFE720D0-D4BC-4E6B-9F34-E01E06DCF76E}" dt="2023-04-27T06:15:35.563" v="185" actId="478"/>
          <ac:cxnSpMkLst>
            <pc:docMk/>
            <pc:sldMk cId="1514426697" sldId="913"/>
            <ac:cxnSpMk id="27" creationId="{00000000-0000-0000-0000-000000000000}"/>
          </ac:cxnSpMkLst>
        </pc:cxnChg>
      </pc:sldChg>
      <pc:sldChg chg="addSp delSp modSp mod modClrScheme chgLayout">
        <pc:chgData name="Chua Tony" userId="7deebee6-df33-46fc-9851-5225166dac4f" providerId="ADAL" clId="{EFE720D0-D4BC-4E6B-9F34-E01E06DCF76E}" dt="2023-04-27T07:53:00.587" v="1371"/>
        <pc:sldMkLst>
          <pc:docMk/>
          <pc:sldMk cId="2157750038" sldId="914"/>
        </pc:sldMkLst>
        <pc:spChg chg="add del mod ord">
          <ac:chgData name="Chua Tony" userId="7deebee6-df33-46fc-9851-5225166dac4f" providerId="ADAL" clId="{EFE720D0-D4BC-4E6B-9F34-E01E06DCF76E}" dt="2023-04-27T07:35:14.373" v="1140" actId="478"/>
          <ac:spMkLst>
            <pc:docMk/>
            <pc:sldMk cId="2157750038" sldId="914"/>
            <ac:spMk id="2" creationId="{16C8FB6C-58E2-10D1-2012-A73C4A192565}"/>
          </ac:spMkLst>
        </pc:spChg>
        <pc:spChg chg="mod">
          <ac:chgData name="Chua Tony" userId="7deebee6-df33-46fc-9851-5225166dac4f" providerId="ADAL" clId="{EFE720D0-D4BC-4E6B-9F34-E01E06DCF76E}" dt="2023-04-27T07:48:40.560" v="1248" actId="6549"/>
          <ac:spMkLst>
            <pc:docMk/>
            <pc:sldMk cId="2157750038" sldId="914"/>
            <ac:spMk id="14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7:35:15.668" v="1141" actId="478"/>
          <ac:spMkLst>
            <pc:docMk/>
            <pc:sldMk cId="2157750038" sldId="914"/>
            <ac:spMk id="25" creationId="{00000000-0000-0000-0000-000000000000}"/>
          </ac:spMkLst>
        </pc:spChg>
        <pc:spChg chg="mod">
          <ac:chgData name="Chua Tony" userId="7deebee6-df33-46fc-9851-5225166dac4f" providerId="ADAL" clId="{EFE720D0-D4BC-4E6B-9F34-E01E06DCF76E}" dt="2023-04-27T07:35:31.678" v="1210" actId="1037"/>
          <ac:spMkLst>
            <pc:docMk/>
            <pc:sldMk cId="2157750038" sldId="914"/>
            <ac:spMk id="30" creationId="{00000000-0000-0000-0000-000000000000}"/>
          </ac:spMkLst>
        </pc:spChg>
        <pc:spChg chg="del mod">
          <ac:chgData name="Chua Tony" userId="7deebee6-df33-46fc-9851-5225166dac4f" providerId="ADAL" clId="{EFE720D0-D4BC-4E6B-9F34-E01E06DCF76E}" dt="2023-04-27T07:35:19.654" v="1144" actId="478"/>
          <ac:spMkLst>
            <pc:docMk/>
            <pc:sldMk cId="2157750038" sldId="914"/>
            <ac:spMk id="31" creationId="{00000000-0000-0000-0000-000000000000}"/>
          </ac:spMkLst>
        </pc:spChg>
        <pc:grpChg chg="del">
          <ac:chgData name="Chua Tony" userId="7deebee6-df33-46fc-9851-5225166dac4f" providerId="ADAL" clId="{EFE720D0-D4BC-4E6B-9F34-E01E06DCF76E}" dt="2023-04-27T07:35:22.022" v="1146" actId="478"/>
          <ac:grpSpMkLst>
            <pc:docMk/>
            <pc:sldMk cId="2157750038" sldId="914"/>
            <ac:grpSpMk id="19" creationId="{00000000-0000-0000-0000-000000000000}"/>
          </ac:grpSpMkLst>
        </pc:grpChg>
        <pc:picChg chg="del">
          <ac:chgData name="Chua Tony" userId="7deebee6-df33-46fc-9851-5225166dac4f" providerId="ADAL" clId="{EFE720D0-D4BC-4E6B-9F34-E01E06DCF76E}" dt="2023-04-27T07:45:09.581" v="1211" actId="478"/>
          <ac:picMkLst>
            <pc:docMk/>
            <pc:sldMk cId="2157750038" sldId="914"/>
            <ac:picMk id="3" creationId="{00000000-0000-0000-0000-000000000000}"/>
          </ac:picMkLst>
        </pc:picChg>
        <pc:picChg chg="add mod">
          <ac:chgData name="Chua Tony" userId="7deebee6-df33-46fc-9851-5225166dac4f" providerId="ADAL" clId="{EFE720D0-D4BC-4E6B-9F34-E01E06DCF76E}" dt="2023-04-27T07:46:04.009" v="1216" actId="14100"/>
          <ac:picMkLst>
            <pc:docMk/>
            <pc:sldMk cId="2157750038" sldId="914"/>
            <ac:picMk id="5" creationId="{CB2F0D9E-ABAD-649A-D8B3-5AE2953B53DD}"/>
          </ac:picMkLst>
        </pc:picChg>
        <pc:picChg chg="del">
          <ac:chgData name="Chua Tony" userId="7deebee6-df33-46fc-9851-5225166dac4f" providerId="ADAL" clId="{EFE720D0-D4BC-4E6B-9F34-E01E06DCF76E}" dt="2023-04-27T07:53:00.587" v="1371"/>
          <ac:picMkLst>
            <pc:docMk/>
            <pc:sldMk cId="2157750038" sldId="914"/>
            <ac:picMk id="7" creationId="{4FE64427-42E0-6E33-B9DA-CDF1D247D124}"/>
          </ac:picMkLst>
        </pc:picChg>
        <pc:picChg chg="del">
          <ac:chgData name="Chua Tony" userId="7deebee6-df33-46fc-9851-5225166dac4f" providerId="ADAL" clId="{EFE720D0-D4BC-4E6B-9F34-E01E06DCF76E}" dt="2023-04-27T07:35:16.669" v="1142" actId="478"/>
          <ac:picMkLst>
            <pc:docMk/>
            <pc:sldMk cId="2157750038" sldId="914"/>
            <ac:picMk id="24" creationId="{00000000-0000-0000-0000-000000000000}"/>
          </ac:picMkLst>
        </pc:picChg>
        <pc:cxnChg chg="del">
          <ac:chgData name="Chua Tony" userId="7deebee6-df33-46fc-9851-5225166dac4f" providerId="ADAL" clId="{EFE720D0-D4BC-4E6B-9F34-E01E06DCF76E}" dt="2023-04-27T07:35:20.790" v="1145" actId="478"/>
          <ac:cxnSpMkLst>
            <pc:docMk/>
            <pc:sldMk cId="2157750038" sldId="914"/>
            <ac:cxnSpMk id="27" creationId="{00000000-0000-0000-0000-000000000000}"/>
          </ac:cxnSpMkLst>
        </pc:cxnChg>
      </pc:sldChg>
      <pc:sldChg chg="addSp delSp modSp del mod modClrScheme chgLayout">
        <pc:chgData name="Chua Tony" userId="7deebee6-df33-46fc-9851-5225166dac4f" providerId="ADAL" clId="{EFE720D0-D4BC-4E6B-9F34-E01E06DCF76E}" dt="2023-04-27T07:50:37.043" v="1369" actId="2696"/>
        <pc:sldMkLst>
          <pc:docMk/>
          <pc:sldMk cId="2104785188" sldId="915"/>
        </pc:sldMkLst>
        <pc:spChg chg="add del mod ord">
          <ac:chgData name="Chua Tony" userId="7deebee6-df33-46fc-9851-5225166dac4f" providerId="ADAL" clId="{EFE720D0-D4BC-4E6B-9F34-E01E06DCF76E}" dt="2023-04-27T07:48:48.182" v="1249" actId="478"/>
          <ac:spMkLst>
            <pc:docMk/>
            <pc:sldMk cId="2104785188" sldId="915"/>
            <ac:spMk id="2" creationId="{23DCF397-0A14-7B94-B58B-F01FBA23C0F3}"/>
          </ac:spMkLst>
        </pc:spChg>
        <pc:spChg chg="mod">
          <ac:chgData name="Chua Tony" userId="7deebee6-df33-46fc-9851-5225166dac4f" providerId="ADAL" clId="{EFE720D0-D4BC-4E6B-9F34-E01E06DCF76E}" dt="2023-04-27T07:49:37.359" v="1305" actId="1038"/>
          <ac:spMkLst>
            <pc:docMk/>
            <pc:sldMk cId="2104785188" sldId="915"/>
            <ac:spMk id="14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7:48:53.120" v="1251" actId="478"/>
          <ac:spMkLst>
            <pc:docMk/>
            <pc:sldMk cId="2104785188" sldId="915"/>
            <ac:spMk id="25" creationId="{00000000-0000-0000-0000-000000000000}"/>
          </ac:spMkLst>
        </pc:spChg>
        <pc:spChg chg="mod">
          <ac:chgData name="Chua Tony" userId="7deebee6-df33-46fc-9851-5225166dac4f" providerId="ADAL" clId="{EFE720D0-D4BC-4E6B-9F34-E01E06DCF76E}" dt="2023-04-27T07:49:45.533" v="1368" actId="1037"/>
          <ac:spMkLst>
            <pc:docMk/>
            <pc:sldMk cId="2104785188" sldId="915"/>
            <ac:spMk id="30" creationId="{00000000-0000-0000-0000-000000000000}"/>
          </ac:spMkLst>
        </pc:spChg>
        <pc:spChg chg="del">
          <ac:chgData name="Chua Tony" userId="7deebee6-df33-46fc-9851-5225166dac4f" providerId="ADAL" clId="{EFE720D0-D4BC-4E6B-9F34-E01E06DCF76E}" dt="2023-04-27T07:48:55.542" v="1252" actId="478"/>
          <ac:spMkLst>
            <pc:docMk/>
            <pc:sldMk cId="2104785188" sldId="915"/>
            <ac:spMk id="31" creationId="{00000000-0000-0000-0000-000000000000}"/>
          </ac:spMkLst>
        </pc:spChg>
        <pc:grpChg chg="del">
          <ac:chgData name="Chua Tony" userId="7deebee6-df33-46fc-9851-5225166dac4f" providerId="ADAL" clId="{EFE720D0-D4BC-4E6B-9F34-E01E06DCF76E}" dt="2023-04-27T07:48:51.099" v="1250" actId="478"/>
          <ac:grpSpMkLst>
            <pc:docMk/>
            <pc:sldMk cId="2104785188" sldId="915"/>
            <ac:grpSpMk id="19" creationId="{00000000-0000-0000-0000-000000000000}"/>
          </ac:grpSpMkLst>
        </pc:grpChg>
        <pc:picChg chg="add del mod">
          <ac:chgData name="Chua Tony" userId="7deebee6-df33-46fc-9851-5225166dac4f" providerId="ADAL" clId="{EFE720D0-D4BC-4E6B-9F34-E01E06DCF76E}" dt="2023-04-27T07:49:33.343" v="1291" actId="1038"/>
          <ac:picMkLst>
            <pc:docMk/>
            <pc:sldMk cId="2104785188" sldId="915"/>
            <ac:picMk id="15" creationId="{00000000-0000-0000-0000-000000000000}"/>
          </ac:picMkLst>
        </pc:picChg>
        <pc:picChg chg="del">
          <ac:chgData name="Chua Tony" userId="7deebee6-df33-46fc-9851-5225166dac4f" providerId="ADAL" clId="{EFE720D0-D4BC-4E6B-9F34-E01E06DCF76E}" dt="2023-04-27T07:49:00.115" v="1255" actId="478"/>
          <ac:picMkLst>
            <pc:docMk/>
            <pc:sldMk cId="2104785188" sldId="915"/>
            <ac:picMk id="24" creationId="{00000000-0000-0000-0000-000000000000}"/>
          </ac:picMkLst>
        </pc:picChg>
        <pc:cxnChg chg="del">
          <ac:chgData name="Chua Tony" userId="7deebee6-df33-46fc-9851-5225166dac4f" providerId="ADAL" clId="{EFE720D0-D4BC-4E6B-9F34-E01E06DCF76E}" dt="2023-04-27T07:49:04.909" v="1258" actId="478"/>
          <ac:cxnSpMkLst>
            <pc:docMk/>
            <pc:sldMk cId="2104785188" sldId="915"/>
            <ac:cxnSpMk id="27" creationId="{00000000-0000-0000-0000-000000000000}"/>
          </ac:cxnSpMkLst>
        </pc:cxnChg>
      </pc:sldChg>
      <pc:sldMasterChg chg="delSldLayout">
        <pc:chgData name="Chua Tony" userId="7deebee6-df33-46fc-9851-5225166dac4f" providerId="ADAL" clId="{EFE720D0-D4BC-4E6B-9F34-E01E06DCF76E}" dt="2023-04-27T07:53:13.264" v="1372" actId="47"/>
        <pc:sldMasterMkLst>
          <pc:docMk/>
          <pc:sldMasterMk cId="2662124523" sldId="2147483762"/>
        </pc:sldMasterMkLst>
        <pc:sldLayoutChg chg="del">
          <pc:chgData name="Chua Tony" userId="7deebee6-df33-46fc-9851-5225166dac4f" providerId="ADAL" clId="{EFE720D0-D4BC-4E6B-9F34-E01E06DCF76E}" dt="2023-04-27T07:53:13.264" v="1372" actId="47"/>
          <pc:sldLayoutMkLst>
            <pc:docMk/>
            <pc:sldMasterMk cId="2662124523" sldId="2147483762"/>
            <pc:sldLayoutMk cId="3566897630" sldId="2147483911"/>
          </pc:sldLayoutMkLst>
        </pc:sldLayoutChg>
      </pc:sldMasterChg>
      <pc:sldMasterChg chg="delSldLayout">
        <pc:chgData name="Chua Tony" userId="7deebee6-df33-46fc-9851-5225166dac4f" providerId="ADAL" clId="{EFE720D0-D4BC-4E6B-9F34-E01E06DCF76E}" dt="2023-04-27T07:53:41.035" v="1373" actId="2696"/>
        <pc:sldMasterMkLst>
          <pc:docMk/>
          <pc:sldMasterMk cId="101865581" sldId="2147483889"/>
        </pc:sldMasterMkLst>
        <pc:sldLayoutChg chg="del">
          <pc:chgData name="Chua Tony" userId="7deebee6-df33-46fc-9851-5225166dac4f" providerId="ADAL" clId="{EFE720D0-D4BC-4E6B-9F34-E01E06DCF76E}" dt="2023-04-27T07:53:41.035" v="1373" actId="2696"/>
          <pc:sldLayoutMkLst>
            <pc:docMk/>
            <pc:sldMasterMk cId="101865581" sldId="2147483889"/>
            <pc:sldLayoutMk cId="3711629082" sldId="2147483912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1650" cy="466725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6688" y="0"/>
            <a:ext cx="3041650" cy="466725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B90DA6B0-839E-E24B-B25F-FFC4D9305D91}" type="datetimeFigureOut">
              <a:rPr lang="en-US"/>
              <a:pPr>
                <a:defRPr/>
              </a:pPr>
              <a:t>5/1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39200"/>
            <a:ext cx="3041650" cy="466725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6688" y="8839200"/>
            <a:ext cx="3041650" cy="466725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896C1288-5E73-3E48-9E69-4B2D5D178F1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2974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1650" cy="466725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6688" y="0"/>
            <a:ext cx="3041650" cy="466725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80192DF6-EB71-844D-9104-4A4EEFFCF951}" type="datetimeFigureOut">
              <a:rPr lang="en-US"/>
              <a:pPr>
                <a:defRPr/>
              </a:pPr>
              <a:t>5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1650" cy="3140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287" tIns="46644" rIns="93287" bIns="46644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8338"/>
            <a:ext cx="5616575" cy="3663950"/>
          </a:xfrm>
          <a:prstGeom prst="rect">
            <a:avLst/>
          </a:prstGeom>
        </p:spPr>
        <p:txBody>
          <a:bodyPr vert="horz" lIns="93287" tIns="46644" rIns="93287" bIns="46644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39200"/>
            <a:ext cx="3041650" cy="466725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6688" y="8839200"/>
            <a:ext cx="3041650" cy="466725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04A94C6-EB52-D74D-9ACE-D50EDEA3166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98388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lnSpc>
        <a:spcPct val="125000"/>
      </a:lnSpc>
      <a:spcBef>
        <a:spcPts val="600"/>
      </a:spcBef>
      <a:spcAft>
        <a:spcPct val="0"/>
      </a:spcAft>
      <a:defRPr sz="900" kern="1200">
        <a:solidFill>
          <a:schemeClr val="tx1"/>
        </a:solidFill>
        <a:latin typeface="Roboto" panose="02000000000000000000" pitchFamily="2" charset="0"/>
        <a:ea typeface="ＭＳ Ｐゴシック" charset="0"/>
        <a:cs typeface="Roboto" charset="0"/>
      </a:defRPr>
    </a:lvl1pPr>
    <a:lvl2pPr marL="457200" algn="l" rtl="0" fontAlgn="base">
      <a:lnSpc>
        <a:spcPct val="125000"/>
      </a:lnSpc>
      <a:spcBef>
        <a:spcPts val="600"/>
      </a:spcBef>
      <a:spcAft>
        <a:spcPct val="0"/>
      </a:spcAft>
      <a:defRPr sz="900" kern="1200">
        <a:solidFill>
          <a:schemeClr val="tx1"/>
        </a:solidFill>
        <a:latin typeface="Roboto" panose="02000000000000000000" pitchFamily="2" charset="0"/>
        <a:ea typeface="Roboto" panose="02000000000000000000" pitchFamily="2" charset="0"/>
        <a:cs typeface="Roboto" charset="0"/>
      </a:defRPr>
    </a:lvl2pPr>
    <a:lvl3pPr marL="914400" algn="l" rtl="0" fontAlgn="base">
      <a:lnSpc>
        <a:spcPct val="125000"/>
      </a:lnSpc>
      <a:spcBef>
        <a:spcPts val="600"/>
      </a:spcBef>
      <a:spcAft>
        <a:spcPct val="0"/>
      </a:spcAft>
      <a:defRPr sz="900" kern="1200">
        <a:solidFill>
          <a:schemeClr val="tx1"/>
        </a:solidFill>
        <a:latin typeface="Roboto" panose="02000000000000000000" pitchFamily="2" charset="0"/>
        <a:ea typeface="Roboto" panose="02000000000000000000" pitchFamily="2" charset="0"/>
        <a:cs typeface="Roboto" charset="0"/>
      </a:defRPr>
    </a:lvl3pPr>
    <a:lvl4pPr marL="1371600" algn="l" rtl="0" fontAlgn="base">
      <a:lnSpc>
        <a:spcPct val="125000"/>
      </a:lnSpc>
      <a:spcBef>
        <a:spcPts val="600"/>
      </a:spcBef>
      <a:spcAft>
        <a:spcPct val="0"/>
      </a:spcAft>
      <a:defRPr sz="900" kern="1200">
        <a:solidFill>
          <a:schemeClr val="tx1"/>
        </a:solidFill>
        <a:latin typeface="Roboto" panose="02000000000000000000" pitchFamily="2" charset="0"/>
        <a:ea typeface="Roboto" panose="02000000000000000000" pitchFamily="2" charset="0"/>
        <a:cs typeface="Roboto" charset="0"/>
      </a:defRPr>
    </a:lvl4pPr>
    <a:lvl5pPr marL="1828800" algn="l" rtl="0" fontAlgn="base">
      <a:lnSpc>
        <a:spcPct val="125000"/>
      </a:lnSpc>
      <a:spcBef>
        <a:spcPts val="600"/>
      </a:spcBef>
      <a:spcAft>
        <a:spcPct val="0"/>
      </a:spcAft>
      <a:defRPr sz="900" kern="1200">
        <a:solidFill>
          <a:schemeClr val="tx1"/>
        </a:solidFill>
        <a:latin typeface="Roboto" panose="02000000000000000000" pitchFamily="2" charset="0"/>
        <a:ea typeface="Roboto" panose="02000000000000000000" pitchFamily="2" charset="0"/>
        <a:cs typeface="Roboto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DAD74B-4254-4A15-B920-236F271C9A39}" type="slidenum">
              <a:rPr kumimoji="0" lang="id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20792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13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6877692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14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796873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15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5145988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16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059875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19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7638147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2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9744592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3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765214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4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6171009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5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7801955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6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1743754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7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1277222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8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843134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AD74B-4254-4A15-B920-236F271C9A39}" type="slidenum">
              <a:rPr lang="id-ID" smtClean="0"/>
              <a:t>9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2765193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0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7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svg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9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sv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3.emf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sv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Relationship Id="rId4" Type="http://schemas.openxmlformats.org/officeDocument/2006/relationships/image" Target="../media/image13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Relationship Id="rId4" Type="http://schemas.openxmlformats.org/officeDocument/2006/relationships/image" Target="../media/image13.emf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.xml"/><Relationship Id="rId4" Type="http://schemas.openxmlformats.org/officeDocument/2006/relationships/image" Target="../media/image18.sv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8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svg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0.xml"/><Relationship Id="rId4" Type="http://schemas.openxmlformats.org/officeDocument/2006/relationships/image" Target="../media/image2.sv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1.xml"/><Relationship Id="rId4" Type="http://schemas.openxmlformats.org/officeDocument/2006/relationships/image" Target="../media/image2.sv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2.xml"/><Relationship Id="rId4" Type="http://schemas.openxmlformats.org/officeDocument/2006/relationships/image" Target="../media/image2.sv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3.xml"/><Relationship Id="rId4" Type="http://schemas.openxmlformats.org/officeDocument/2006/relationships/image" Target="../media/image2.sv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4.xml"/><Relationship Id="rId4" Type="http://schemas.openxmlformats.org/officeDocument/2006/relationships/image" Target="../media/image2.svg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7.xml"/><Relationship Id="rId4" Type="http://schemas.openxmlformats.org/officeDocument/2006/relationships/image" Target="../media/image2.sv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9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0.xml"/><Relationship Id="rId4" Type="http://schemas.openxmlformats.org/officeDocument/2006/relationships/image" Target="../media/image2.sv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1.xml"/><Relationship Id="rId4" Type="http://schemas.openxmlformats.org/officeDocument/2006/relationships/image" Target="../media/image5.sv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2.xml"/><Relationship Id="rId4" Type="http://schemas.openxmlformats.org/officeDocument/2006/relationships/image" Target="../media/image7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3.xml"/><Relationship Id="rId4" Type="http://schemas.openxmlformats.org/officeDocument/2006/relationships/image" Target="../media/image2.svg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C58CB3D4-30D8-4DBB-A3FA-4554ED58370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-1" r="35592" b="23725"/>
          <a:stretch/>
        </p:blipFill>
        <p:spPr>
          <a:xfrm>
            <a:off x="5379721" y="416321"/>
            <a:ext cx="6812279" cy="64416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228600"/>
            <a:ext cx="5760720" cy="3200400"/>
          </a:xfrm>
        </p:spPr>
        <p:txBody>
          <a:bodyPr lIns="91440" rIns="91440" anchor="b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280" y="3429000"/>
            <a:ext cx="5760720" cy="3200400"/>
          </a:xfrm>
        </p:spPr>
        <p:txBody>
          <a:bodyPr lIns="137160" tIns="182880" rIns="137160" bIns="182880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0384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228600"/>
            <a:ext cx="11521439" cy="6400800"/>
          </a:xfrm>
        </p:spPr>
        <p:txBody>
          <a:bodyPr lIns="91440" r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5ABB8FC-068B-454D-9279-EEDCA4E00E56}"/>
              </a:ext>
            </a:extLst>
          </p:cNvPr>
          <p:cNvGrpSpPr/>
          <p:nvPr/>
        </p:nvGrpSpPr>
        <p:grpSpPr>
          <a:xfrm>
            <a:off x="1" y="4754880"/>
            <a:ext cx="12191999" cy="1600200"/>
            <a:chOff x="1" y="4434840"/>
            <a:chExt cx="12191999" cy="1600200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C82FD6D-9BB1-4612-8DD8-CAF4D5414568}"/>
                </a:ext>
              </a:extLst>
            </p:cNvPr>
            <p:cNvSpPr/>
            <p:nvPr/>
          </p:nvSpPr>
          <p:spPr>
            <a:xfrm rot="16200000">
              <a:off x="6005973" y="-504332"/>
              <a:ext cx="177800" cy="12189743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12B5A68-8EF0-4C7A-BB81-09E4A111F215}"/>
                </a:ext>
              </a:extLst>
            </p:cNvPr>
            <p:cNvSpPr/>
            <p:nvPr/>
          </p:nvSpPr>
          <p:spPr>
            <a:xfrm rot="16200000">
              <a:off x="6008229" y="-859932"/>
              <a:ext cx="177800" cy="12189743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B76E9FD-333B-466B-B295-21DA9ACF7BE7}"/>
                </a:ext>
              </a:extLst>
            </p:cNvPr>
            <p:cNvSpPr/>
            <p:nvPr/>
          </p:nvSpPr>
          <p:spPr>
            <a:xfrm rot="16200000">
              <a:off x="6008229" y="-1215532"/>
              <a:ext cx="177800" cy="12189743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1045688-A1C0-480A-9010-2510EC13EDC5}"/>
                </a:ext>
              </a:extLst>
            </p:cNvPr>
            <p:cNvSpPr/>
            <p:nvPr/>
          </p:nvSpPr>
          <p:spPr>
            <a:xfrm rot="16200000">
              <a:off x="5711953" y="147543"/>
              <a:ext cx="177800" cy="11597193"/>
            </a:xfrm>
            <a:custGeom>
              <a:avLst/>
              <a:gdLst>
                <a:gd name="connsiteX0" fmla="*/ 0 w 190500"/>
                <a:gd name="connsiteY0" fmla="*/ 0 h 4507230"/>
                <a:gd name="connsiteX1" fmla="*/ 190500 w 190500"/>
                <a:gd name="connsiteY1" fmla="*/ 0 h 4507230"/>
                <a:gd name="connsiteX2" fmla="*/ 190500 w 190500"/>
                <a:gd name="connsiteY2" fmla="*/ 4507230 h 4507230"/>
                <a:gd name="connsiteX3" fmla="*/ 0 w 190500"/>
                <a:gd name="connsiteY3" fmla="*/ 4507230 h 4507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4507230">
                  <a:moveTo>
                    <a:pt x="0" y="0"/>
                  </a:moveTo>
                  <a:lnTo>
                    <a:pt x="190500" y="0"/>
                  </a:lnTo>
                  <a:lnTo>
                    <a:pt x="190500" y="4507230"/>
                  </a:lnTo>
                  <a:lnTo>
                    <a:pt x="0" y="4507230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3D596E4-0307-4E52-955E-5219321EC1D3}"/>
                </a:ext>
              </a:extLst>
            </p:cNvPr>
            <p:cNvSpPr/>
            <p:nvPr/>
          </p:nvSpPr>
          <p:spPr>
            <a:xfrm rot="16200000">
              <a:off x="5711953" y="-1274857"/>
              <a:ext cx="177800" cy="11597193"/>
            </a:xfrm>
            <a:custGeom>
              <a:avLst/>
              <a:gdLst>
                <a:gd name="connsiteX0" fmla="*/ 0 w 190500"/>
                <a:gd name="connsiteY0" fmla="*/ 0 h 4507230"/>
                <a:gd name="connsiteX1" fmla="*/ 190500 w 190500"/>
                <a:gd name="connsiteY1" fmla="*/ 0 h 4507230"/>
                <a:gd name="connsiteX2" fmla="*/ 190500 w 190500"/>
                <a:gd name="connsiteY2" fmla="*/ 4507230 h 4507230"/>
                <a:gd name="connsiteX3" fmla="*/ 0 w 190500"/>
                <a:gd name="connsiteY3" fmla="*/ 4507230 h 4507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4507230">
                  <a:moveTo>
                    <a:pt x="0" y="0"/>
                  </a:moveTo>
                  <a:lnTo>
                    <a:pt x="190500" y="0"/>
                  </a:lnTo>
                  <a:lnTo>
                    <a:pt x="190500" y="4507230"/>
                  </a:lnTo>
                  <a:lnTo>
                    <a:pt x="0" y="4507230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10CF1A0-CD05-48CA-9136-69F8EB2488E9}"/>
                </a:ext>
              </a:extLst>
            </p:cNvPr>
            <p:cNvSpPr/>
            <p:nvPr/>
          </p:nvSpPr>
          <p:spPr>
            <a:xfrm rot="16200000">
              <a:off x="11095865" y="4939792"/>
              <a:ext cx="1600200" cy="590295"/>
            </a:xfrm>
            <a:custGeom>
              <a:avLst/>
              <a:gdLst>
                <a:gd name="connsiteX0" fmla="*/ 0 w 1714500"/>
                <a:gd name="connsiteY0" fmla="*/ 0 h 632461"/>
                <a:gd name="connsiteX1" fmla="*/ 206693 w 1714500"/>
                <a:gd name="connsiteY1" fmla="*/ 0 h 632461"/>
                <a:gd name="connsiteX2" fmla="*/ 857250 w 1714500"/>
                <a:gd name="connsiteY2" fmla="*/ 485775 h 632461"/>
                <a:gd name="connsiteX3" fmla="*/ 1507808 w 1714500"/>
                <a:gd name="connsiteY3" fmla="*/ 0 h 632461"/>
                <a:gd name="connsiteX4" fmla="*/ 1714500 w 1714500"/>
                <a:gd name="connsiteY4" fmla="*/ 0 h 632461"/>
                <a:gd name="connsiteX5" fmla="*/ 1617107 w 1714500"/>
                <a:gd name="connsiteY5" fmla="*/ 583168 h 632461"/>
                <a:gd name="connsiteX6" fmla="*/ 1607596 w 1714500"/>
                <a:gd name="connsiteY6" fmla="*/ 632461 h 632461"/>
                <a:gd name="connsiteX7" fmla="*/ 106200 w 1714500"/>
                <a:gd name="connsiteY7" fmla="*/ 632461 h 632461"/>
                <a:gd name="connsiteX8" fmla="*/ 96679 w 1714500"/>
                <a:gd name="connsiteY8" fmla="*/ 583168 h 632461"/>
                <a:gd name="connsiteX9" fmla="*/ 0 w 1714500"/>
                <a:gd name="connsiteY9" fmla="*/ 0 h 632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14500" h="632461">
                  <a:moveTo>
                    <a:pt x="0" y="0"/>
                  </a:moveTo>
                  <a:lnTo>
                    <a:pt x="206693" y="0"/>
                  </a:lnTo>
                  <a:cubicBezTo>
                    <a:pt x="243840" y="98108"/>
                    <a:pt x="418148" y="485775"/>
                    <a:pt x="857250" y="485775"/>
                  </a:cubicBezTo>
                  <a:cubicBezTo>
                    <a:pt x="1296353" y="485775"/>
                    <a:pt x="1470660" y="98108"/>
                    <a:pt x="1507808" y="0"/>
                  </a:cubicBezTo>
                  <a:lnTo>
                    <a:pt x="1714500" y="0"/>
                  </a:lnTo>
                  <a:cubicBezTo>
                    <a:pt x="1702594" y="79057"/>
                    <a:pt x="1668066" y="307896"/>
                    <a:pt x="1617107" y="583168"/>
                  </a:cubicBezTo>
                  <a:lnTo>
                    <a:pt x="1607596" y="632461"/>
                  </a:lnTo>
                  <a:lnTo>
                    <a:pt x="106200" y="632461"/>
                  </a:lnTo>
                  <a:lnTo>
                    <a:pt x="96679" y="583168"/>
                  </a:lnTo>
                  <a:cubicBezTo>
                    <a:pt x="45720" y="307896"/>
                    <a:pt x="11430" y="79057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97453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9427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549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228600"/>
            <a:ext cx="9144000" cy="6400799"/>
          </a:xfrm>
        </p:spPr>
        <p:txBody>
          <a:bodyPr anchor="ctr" anchorCtr="1"/>
          <a:lstStyle>
            <a:lvl1pPr algn="l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7423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8400" y="228600"/>
            <a:ext cx="7315200" cy="6400799"/>
          </a:xfrm>
        </p:spPr>
        <p:txBody>
          <a:bodyPr anchor="ctr" anchorCtr="1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0766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8400" y="228600"/>
            <a:ext cx="7315200" cy="6400799"/>
          </a:xfrm>
        </p:spPr>
        <p:txBody>
          <a:bodyPr anchor="ctr" anchorCtr="1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19431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916426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DD7EE2F-56DA-4FC6-9605-07FD606C55A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244475 w 12192000"/>
              <a:gd name="connsiteY0" fmla="*/ 228600 h 6858000"/>
              <a:gd name="connsiteX1" fmla="*/ 244475 w 12192000"/>
              <a:gd name="connsiteY1" fmla="*/ 6629400 h 6858000"/>
              <a:gd name="connsiteX2" fmla="*/ 11947525 w 12192000"/>
              <a:gd name="connsiteY2" fmla="*/ 6629400 h 6858000"/>
              <a:gd name="connsiteX3" fmla="*/ 11947525 w 12192000"/>
              <a:gd name="connsiteY3" fmla="*/ 228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244475" y="228600"/>
                </a:moveTo>
                <a:lnTo>
                  <a:pt x="244475" y="6629400"/>
                </a:lnTo>
                <a:lnTo>
                  <a:pt x="11947525" y="6629400"/>
                </a:lnTo>
                <a:lnTo>
                  <a:pt x="11947525" y="228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7564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3C329411-F38A-4621-B822-B1D93BFA34B6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0FF2E7B-84E2-4B03-8B74-F89D93D3029A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>
                <a:gd name="connsiteX0" fmla="*/ 0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11948160 w 12192000"/>
                <a:gd name="connsiteY3" fmla="*/ 6858000 h 6858000"/>
                <a:gd name="connsiteX4" fmla="*/ 11948160 w 12192000"/>
                <a:gd name="connsiteY4" fmla="*/ 5623560 h 6858000"/>
                <a:gd name="connsiteX5" fmla="*/ 11947525 w 12192000"/>
                <a:gd name="connsiteY5" fmla="*/ 5623560 h 6858000"/>
                <a:gd name="connsiteX6" fmla="*/ 11947525 w 12192000"/>
                <a:gd name="connsiteY6" fmla="*/ 228600 h 6858000"/>
                <a:gd name="connsiteX7" fmla="*/ 244475 w 12192000"/>
                <a:gd name="connsiteY7" fmla="*/ 228600 h 6858000"/>
                <a:gd name="connsiteX8" fmla="*/ 244475 w 12192000"/>
                <a:gd name="connsiteY8" fmla="*/ 6629400 h 6858000"/>
                <a:gd name="connsiteX9" fmla="*/ 10759440 w 12192000"/>
                <a:gd name="connsiteY9" fmla="*/ 6629400 h 6858000"/>
                <a:gd name="connsiteX10" fmla="*/ 10759440 w 12192000"/>
                <a:gd name="connsiteY10" fmla="*/ 6858000 h 6858000"/>
                <a:gd name="connsiteX11" fmla="*/ 0 w 12192000"/>
                <a:gd name="connsiteY11" fmla="*/ 6858000 h 6858000"/>
                <a:gd name="connsiteX12" fmla="*/ 0 w 12192000"/>
                <a:gd name="connsiteY12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192000" h="6858000">
                  <a:moveTo>
                    <a:pt x="0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11948160" y="6858000"/>
                  </a:lnTo>
                  <a:lnTo>
                    <a:pt x="11948160" y="5623560"/>
                  </a:lnTo>
                  <a:lnTo>
                    <a:pt x="11947525" y="5623560"/>
                  </a:lnTo>
                  <a:lnTo>
                    <a:pt x="11947525" y="228600"/>
                  </a:lnTo>
                  <a:lnTo>
                    <a:pt x="244475" y="228600"/>
                  </a:lnTo>
                  <a:lnTo>
                    <a:pt x="244475" y="6629400"/>
                  </a:lnTo>
                  <a:lnTo>
                    <a:pt x="10759440" y="6629400"/>
                  </a:lnTo>
                  <a:lnTo>
                    <a:pt x="1075944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200"/>
                </a:spcBef>
              </a:pPr>
              <a:endParaRPr lang="en-US" sz="1800" dirty="0" err="1"/>
            </a:p>
          </p:txBody>
        </p:sp>
        <p:sp>
          <p:nvSpPr>
            <p:cNvPr id="8" name="Graphic 10">
              <a:extLst>
                <a:ext uri="{FF2B5EF4-FFF2-40B4-BE49-F238E27FC236}">
                  <a16:creationId xmlns:a16="http://schemas.microsoft.com/office/drawing/2014/main" id="{4018B138-26D4-4E7D-A0DC-6D616584598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39400" y="6629400"/>
              <a:ext cx="617220" cy="228600"/>
            </a:xfrm>
            <a:custGeom>
              <a:avLst/>
              <a:gdLst>
                <a:gd name="connsiteX0" fmla="*/ 772368 w 771525"/>
                <a:gd name="connsiteY0" fmla="*/ 269558 h 285750"/>
                <a:gd name="connsiteX1" fmla="*/ 753318 w 771525"/>
                <a:gd name="connsiteY1" fmla="*/ 291465 h 285750"/>
                <a:gd name="connsiteX2" fmla="*/ 406608 w 771525"/>
                <a:gd name="connsiteY2" fmla="*/ 291465 h 285750"/>
                <a:gd name="connsiteX3" fmla="*/ 2748 w 771525"/>
                <a:gd name="connsiteY3" fmla="*/ 6668 h 285750"/>
                <a:gd name="connsiteX4" fmla="*/ 3701 w 771525"/>
                <a:gd name="connsiteY4" fmla="*/ 0 h 285750"/>
                <a:gd name="connsiteX5" fmla="*/ 450423 w 771525"/>
                <a:gd name="connsiteY5" fmla="*/ 0 h 285750"/>
                <a:gd name="connsiteX6" fmla="*/ 772368 w 771525"/>
                <a:gd name="connsiteY6" fmla="*/ 269558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1525" h="285750">
                  <a:moveTo>
                    <a:pt x="772368" y="269558"/>
                  </a:moveTo>
                  <a:cubicBezTo>
                    <a:pt x="774273" y="280988"/>
                    <a:pt x="764748" y="291465"/>
                    <a:pt x="753318" y="291465"/>
                  </a:cubicBezTo>
                  <a:lnTo>
                    <a:pt x="406608" y="291465"/>
                  </a:lnTo>
                  <a:cubicBezTo>
                    <a:pt x="131336" y="291465"/>
                    <a:pt x="185628" y="56198"/>
                    <a:pt x="2748" y="6668"/>
                  </a:cubicBezTo>
                  <a:cubicBezTo>
                    <a:pt x="-1062" y="5715"/>
                    <a:pt x="-1062" y="0"/>
                    <a:pt x="3701" y="0"/>
                  </a:cubicBezTo>
                  <a:lnTo>
                    <a:pt x="450423" y="0"/>
                  </a:lnTo>
                  <a:cubicBezTo>
                    <a:pt x="589488" y="0"/>
                    <a:pt x="748556" y="99060"/>
                    <a:pt x="772368" y="26955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3768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2FAF2E-865B-8144-BE35-713D54848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572000"/>
            <a:ext cx="11522076" cy="1097280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chemeClr val="bg1"/>
                </a:solidFill>
                <a:latin typeface="Speedee" panose="020B06030305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Graphic 4">
            <a:extLst>
              <a:ext uri="{FF2B5EF4-FFF2-40B4-BE49-F238E27FC236}">
                <a16:creationId xmlns:a16="http://schemas.microsoft.com/office/drawing/2014/main" id="{C3921F8B-7D89-4D3C-A0B7-A4A5676B0457}"/>
              </a:ext>
            </a:extLst>
          </p:cNvPr>
          <p:cNvSpPr/>
          <p:nvPr/>
        </p:nvSpPr>
        <p:spPr>
          <a:xfrm>
            <a:off x="3166291" y="1654806"/>
            <a:ext cx="5851803" cy="2538743"/>
          </a:xfrm>
          <a:custGeom>
            <a:avLst/>
            <a:gdLst>
              <a:gd name="connsiteX0" fmla="*/ 5045752 w 5851802"/>
              <a:gd name="connsiteY0" fmla="*/ 0 h 2538742"/>
              <a:gd name="connsiteX1" fmla="*/ 4895966 w 5851802"/>
              <a:gd name="connsiteY1" fmla="*/ 313535 h 2538742"/>
              <a:gd name="connsiteX2" fmla="*/ 5156187 w 5851802"/>
              <a:gd name="connsiteY2" fmla="*/ 427778 h 2538742"/>
              <a:gd name="connsiteX3" fmla="*/ 2929710 w 5851802"/>
              <a:gd name="connsiteY3" fmla="*/ 1942138 h 2538742"/>
              <a:gd name="connsiteX4" fmla="*/ 704501 w 5851802"/>
              <a:gd name="connsiteY4" fmla="*/ 426509 h 2538742"/>
              <a:gd name="connsiteX5" fmla="*/ 964722 w 5851802"/>
              <a:gd name="connsiteY5" fmla="*/ 312265 h 2538742"/>
              <a:gd name="connsiteX6" fmla="*/ 814937 w 5851802"/>
              <a:gd name="connsiteY6" fmla="*/ 0 h 2538742"/>
              <a:gd name="connsiteX7" fmla="*/ 0 w 5851802"/>
              <a:gd name="connsiteY7" fmla="*/ 371926 h 2538742"/>
              <a:gd name="connsiteX8" fmla="*/ 144708 w 5851802"/>
              <a:gd name="connsiteY8" fmla="*/ 680383 h 2538742"/>
              <a:gd name="connsiteX9" fmla="*/ 435394 w 5851802"/>
              <a:gd name="connsiteY9" fmla="*/ 545830 h 2538742"/>
              <a:gd name="connsiteX10" fmla="*/ 2929710 w 5851802"/>
              <a:gd name="connsiteY10" fmla="*/ 2546359 h 2538742"/>
              <a:gd name="connsiteX11" fmla="*/ 5425294 w 5851802"/>
              <a:gd name="connsiteY11" fmla="*/ 545830 h 2538742"/>
              <a:gd name="connsiteX12" fmla="*/ 5715980 w 5851802"/>
              <a:gd name="connsiteY12" fmla="*/ 680383 h 2538742"/>
              <a:gd name="connsiteX13" fmla="*/ 5860688 w 5851802"/>
              <a:gd name="connsiteY13" fmla="*/ 371926 h 2538742"/>
              <a:gd name="connsiteX14" fmla="*/ 5045752 w 5851802"/>
              <a:gd name="connsiteY14" fmla="*/ 0 h 2538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851802" h="2538742">
                <a:moveTo>
                  <a:pt x="5045752" y="0"/>
                </a:moveTo>
                <a:lnTo>
                  <a:pt x="4895966" y="313535"/>
                </a:lnTo>
                <a:lnTo>
                  <a:pt x="5156187" y="427778"/>
                </a:lnTo>
                <a:cubicBezTo>
                  <a:pt x="4774106" y="1535939"/>
                  <a:pt x="3698949" y="1942138"/>
                  <a:pt x="2929710" y="1942138"/>
                </a:cubicBezTo>
                <a:cubicBezTo>
                  <a:pt x="2160470" y="1942138"/>
                  <a:pt x="1086582" y="1535939"/>
                  <a:pt x="704501" y="426509"/>
                </a:cubicBezTo>
                <a:lnTo>
                  <a:pt x="964722" y="312265"/>
                </a:lnTo>
                <a:lnTo>
                  <a:pt x="814937" y="0"/>
                </a:lnTo>
                <a:lnTo>
                  <a:pt x="0" y="371926"/>
                </a:lnTo>
                <a:lnTo>
                  <a:pt x="144708" y="680383"/>
                </a:lnTo>
                <a:lnTo>
                  <a:pt x="435394" y="545830"/>
                </a:lnTo>
                <a:cubicBezTo>
                  <a:pt x="586450" y="1120855"/>
                  <a:pt x="1375999" y="2546359"/>
                  <a:pt x="2929710" y="2546359"/>
                </a:cubicBezTo>
                <a:cubicBezTo>
                  <a:pt x="4483420" y="2546359"/>
                  <a:pt x="5274239" y="1120855"/>
                  <a:pt x="5425294" y="545830"/>
                </a:cubicBezTo>
                <a:lnTo>
                  <a:pt x="5715980" y="680383"/>
                </a:lnTo>
                <a:lnTo>
                  <a:pt x="5860688" y="371926"/>
                </a:lnTo>
                <a:lnTo>
                  <a:pt x="5045752" y="0"/>
                </a:lnTo>
                <a:close/>
              </a:path>
            </a:pathLst>
          </a:custGeom>
          <a:solidFill>
            <a:schemeClr val="accent1"/>
          </a:solidFill>
          <a:ln w="126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227103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2" y="1600200"/>
            <a:ext cx="11522076" cy="1828800"/>
          </a:xfrm>
        </p:spPr>
        <p:txBody>
          <a:bodyPr lIns="91440" rIns="91440" anchor="b">
            <a:noAutofit/>
          </a:bodyPr>
          <a:lstStyle>
            <a:lvl1pPr algn="ctr">
              <a:defRPr sz="4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2" y="3429000"/>
            <a:ext cx="11522076" cy="1828800"/>
          </a:xfrm>
        </p:spPr>
        <p:txBody>
          <a:bodyPr lIns="137160" tIns="182880" rIns="137160" bIns="182880" anchor="t" anchorCtr="1"/>
          <a:lstStyle>
            <a:lvl1pPr marL="0" indent="0" algn="l"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4069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2645E44C-BC01-4C20-BC03-C07046E16E25}"/>
              </a:ext>
            </a:extLst>
          </p:cNvPr>
          <p:cNvSpPr/>
          <p:nvPr/>
        </p:nvSpPr>
        <p:spPr>
          <a:xfrm flipV="1">
            <a:off x="6094196" y="228600"/>
            <a:ext cx="6097804" cy="6629400"/>
          </a:xfrm>
          <a:custGeom>
            <a:avLst/>
            <a:gdLst>
              <a:gd name="connsiteX0" fmla="*/ 2439 w 6097804"/>
              <a:gd name="connsiteY0" fmla="*/ 6629400 h 6629400"/>
              <a:gd name="connsiteX1" fmla="*/ 307303 w 6097804"/>
              <a:gd name="connsiteY1" fmla="*/ 6332812 h 6629400"/>
              <a:gd name="connsiteX2" fmla="*/ 612167 w 6097804"/>
              <a:gd name="connsiteY2" fmla="*/ 6629400 h 6629400"/>
              <a:gd name="connsiteX3" fmla="*/ 917030 w 6097804"/>
              <a:gd name="connsiteY3" fmla="*/ 6332812 h 6629400"/>
              <a:gd name="connsiteX4" fmla="*/ 1221894 w 6097804"/>
              <a:gd name="connsiteY4" fmla="*/ 6629400 h 6629400"/>
              <a:gd name="connsiteX5" fmla="*/ 1526757 w 6097804"/>
              <a:gd name="connsiteY5" fmla="*/ 6332812 h 6629400"/>
              <a:gd name="connsiteX6" fmla="*/ 1831621 w 6097804"/>
              <a:gd name="connsiteY6" fmla="*/ 6629400 h 6629400"/>
              <a:gd name="connsiteX7" fmla="*/ 2136484 w 6097804"/>
              <a:gd name="connsiteY7" fmla="*/ 6332812 h 6629400"/>
              <a:gd name="connsiteX8" fmla="*/ 2441348 w 6097804"/>
              <a:gd name="connsiteY8" fmla="*/ 6629400 h 6629400"/>
              <a:gd name="connsiteX9" fmla="*/ 2746212 w 6097804"/>
              <a:gd name="connsiteY9" fmla="*/ 6332812 h 6629400"/>
              <a:gd name="connsiteX10" fmla="*/ 3051074 w 6097804"/>
              <a:gd name="connsiteY10" fmla="*/ 6629400 h 6629400"/>
              <a:gd name="connsiteX11" fmla="*/ 3355938 w 6097804"/>
              <a:gd name="connsiteY11" fmla="*/ 6332812 h 6629400"/>
              <a:gd name="connsiteX12" fmla="*/ 3660802 w 6097804"/>
              <a:gd name="connsiteY12" fmla="*/ 6629400 h 6629400"/>
              <a:gd name="connsiteX13" fmla="*/ 3965665 w 6097804"/>
              <a:gd name="connsiteY13" fmla="*/ 6332812 h 6629400"/>
              <a:gd name="connsiteX14" fmla="*/ 4270529 w 6097804"/>
              <a:gd name="connsiteY14" fmla="*/ 6629400 h 6629400"/>
              <a:gd name="connsiteX15" fmla="*/ 4575392 w 6097804"/>
              <a:gd name="connsiteY15" fmla="*/ 6332812 h 6629400"/>
              <a:gd name="connsiteX16" fmla="*/ 4880256 w 6097804"/>
              <a:gd name="connsiteY16" fmla="*/ 6629400 h 6629400"/>
              <a:gd name="connsiteX17" fmla="*/ 5185120 w 6097804"/>
              <a:gd name="connsiteY17" fmla="*/ 6332812 h 6629400"/>
              <a:gd name="connsiteX18" fmla="*/ 5489983 w 6097804"/>
              <a:gd name="connsiteY18" fmla="*/ 6629400 h 6629400"/>
              <a:gd name="connsiteX19" fmla="*/ 5794847 w 6097804"/>
              <a:gd name="connsiteY19" fmla="*/ 6332812 h 6629400"/>
              <a:gd name="connsiteX20" fmla="*/ 6097804 w 6097804"/>
              <a:gd name="connsiteY20" fmla="*/ 6627487 h 6629400"/>
              <a:gd name="connsiteX21" fmla="*/ 6097804 w 6097804"/>
              <a:gd name="connsiteY21" fmla="*/ 1463040 h 6629400"/>
              <a:gd name="connsiteX22" fmla="*/ 6097804 w 6097804"/>
              <a:gd name="connsiteY22" fmla="*/ 0 h 6629400"/>
              <a:gd name="connsiteX23" fmla="*/ 1804 w 6097804"/>
              <a:gd name="connsiteY23" fmla="*/ 0 h 6629400"/>
              <a:gd name="connsiteX24" fmla="*/ 1804 w 6097804"/>
              <a:gd name="connsiteY24" fmla="*/ 1463040 h 6629400"/>
              <a:gd name="connsiteX25" fmla="*/ 0 w 6097804"/>
              <a:gd name="connsiteY25" fmla="*/ 1463040 h 6629400"/>
              <a:gd name="connsiteX26" fmla="*/ 0 w 6097804"/>
              <a:gd name="connsiteY26" fmla="*/ 6627027 h 662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097804" h="6629400">
                <a:moveTo>
                  <a:pt x="2439" y="6629400"/>
                </a:moveTo>
                <a:lnTo>
                  <a:pt x="307303" y="6332812"/>
                </a:lnTo>
                <a:lnTo>
                  <a:pt x="612167" y="6629400"/>
                </a:lnTo>
                <a:lnTo>
                  <a:pt x="917030" y="6332812"/>
                </a:lnTo>
                <a:lnTo>
                  <a:pt x="1221894" y="6629400"/>
                </a:lnTo>
                <a:lnTo>
                  <a:pt x="1526757" y="6332812"/>
                </a:lnTo>
                <a:lnTo>
                  <a:pt x="1831621" y="6629400"/>
                </a:lnTo>
                <a:lnTo>
                  <a:pt x="2136484" y="6332812"/>
                </a:lnTo>
                <a:lnTo>
                  <a:pt x="2441348" y="6629400"/>
                </a:lnTo>
                <a:lnTo>
                  <a:pt x="2746212" y="6332812"/>
                </a:lnTo>
                <a:lnTo>
                  <a:pt x="3051074" y="6629400"/>
                </a:lnTo>
                <a:lnTo>
                  <a:pt x="3355938" y="6332812"/>
                </a:lnTo>
                <a:lnTo>
                  <a:pt x="3660802" y="6629400"/>
                </a:lnTo>
                <a:lnTo>
                  <a:pt x="3965665" y="6332812"/>
                </a:lnTo>
                <a:lnTo>
                  <a:pt x="4270529" y="6629400"/>
                </a:lnTo>
                <a:lnTo>
                  <a:pt x="4575392" y="6332812"/>
                </a:lnTo>
                <a:lnTo>
                  <a:pt x="4880256" y="6629400"/>
                </a:lnTo>
                <a:lnTo>
                  <a:pt x="5185120" y="6332812"/>
                </a:lnTo>
                <a:lnTo>
                  <a:pt x="5489983" y="6629400"/>
                </a:lnTo>
                <a:lnTo>
                  <a:pt x="5794847" y="6332812"/>
                </a:lnTo>
                <a:lnTo>
                  <a:pt x="6097804" y="6627487"/>
                </a:lnTo>
                <a:lnTo>
                  <a:pt x="6097804" y="1463040"/>
                </a:lnTo>
                <a:lnTo>
                  <a:pt x="6097804" y="0"/>
                </a:lnTo>
                <a:lnTo>
                  <a:pt x="1804" y="0"/>
                </a:lnTo>
                <a:lnTo>
                  <a:pt x="1804" y="1463040"/>
                </a:lnTo>
                <a:lnTo>
                  <a:pt x="0" y="1463040"/>
                </a:lnTo>
                <a:lnTo>
                  <a:pt x="0" y="662702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5486400" cy="6400799"/>
          </a:xfrm>
        </p:spPr>
        <p:txBody>
          <a:bodyPr anchor="ctr" anchorCtr="1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64E614CC-7161-451C-B27F-99D746FC8F2F}"/>
              </a:ext>
            </a:extLst>
          </p:cNvPr>
          <p:cNvSpPr>
            <a:spLocks/>
          </p:cNvSpPr>
          <p:nvPr/>
        </p:nvSpPr>
        <p:spPr>
          <a:xfrm>
            <a:off x="6092672" y="6263640"/>
            <a:ext cx="6097804" cy="59436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438DE18-F374-442B-82ED-D998FAF4289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34" t="1" r="34344" b="25889"/>
          <a:stretch/>
        </p:blipFill>
        <p:spPr>
          <a:xfrm>
            <a:off x="6964681" y="2148840"/>
            <a:ext cx="5227320" cy="47091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523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38F840B2-DCF3-4349-96E4-077263A0F28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3076" y="1279319"/>
            <a:ext cx="8823324" cy="5120640"/>
          </a:xfrm>
        </p:spPr>
        <p:txBody>
          <a:bodyPr wrap="square" lIns="137160" anchor="ctr" anchorCtr="0"/>
          <a:lstStyle>
            <a:lvl1pPr algn="l">
              <a:defRPr sz="2000"/>
            </a:lvl1pPr>
            <a:lvl2pPr algn="l">
              <a:buClr>
                <a:schemeClr val="tx1"/>
              </a:buClr>
              <a:defRPr sz="1800"/>
            </a:lvl2pPr>
            <a:lvl3pPr algn="l">
              <a:buClr>
                <a:schemeClr val="tx1"/>
              </a:buClr>
              <a:defRPr sz="1800"/>
            </a:lvl3pPr>
            <a:lvl4pPr algn="l">
              <a:buClr>
                <a:schemeClr val="tx1"/>
              </a:buClr>
              <a:defRPr sz="1800"/>
            </a:lvl4pPr>
            <a:lvl5pPr algn="l">
              <a:buClr>
                <a:schemeClr val="tx1"/>
              </a:buCl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B615C9EC-86CF-FA4A-926E-E7D47D3BA8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fld id="{5DA39392-15B0-4629-9A47-323464680A3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65CD9-7A46-844A-913F-02E222B12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65927"/>
            <a:ext cx="8823325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A94D66E-8A3B-104D-AE0D-B923638D66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7777" t="16711" b="12500"/>
          <a:stretch/>
        </p:blipFill>
        <p:spPr>
          <a:xfrm>
            <a:off x="11785600" y="0"/>
            <a:ext cx="32512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197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9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363402-425A-4944-8104-1937C489E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522A316C-52CF-4124-82E7-165BEA6288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484" y="6488977"/>
            <a:ext cx="254236" cy="140423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1000" smtClean="0"/>
            </a:lvl1pPr>
          </a:lstStyle>
          <a:p>
            <a:fld id="{5DA39392-15B0-4629-9A47-323464680A3D}" type="slidenum">
              <a:rPr lang="en-US" smtClean="0"/>
              <a:t>‹#›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E90471E-3BFE-4044-B4E7-E3AD67A880DA}"/>
              </a:ext>
            </a:extLst>
          </p:cNvPr>
          <p:cNvGrpSpPr/>
          <p:nvPr/>
        </p:nvGrpSpPr>
        <p:grpSpPr>
          <a:xfrm>
            <a:off x="-1" y="0"/>
            <a:ext cx="12192001" cy="324000"/>
            <a:chOff x="-1" y="0"/>
            <a:chExt cx="12192001" cy="3240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F281A20-AEE3-4800-807A-950336D16D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337" t="32863" r="4811" b="1"/>
            <a:stretch/>
          </p:blipFill>
          <p:spPr>
            <a:xfrm>
              <a:off x="7595413" y="0"/>
              <a:ext cx="4596587" cy="32400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5167EA9-E68A-4EAE-9FD1-B10D9C07EB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337" t="32863" r="40144" b="19439"/>
            <a:stretch/>
          </p:blipFill>
          <p:spPr>
            <a:xfrm>
              <a:off x="-1" y="0"/>
              <a:ext cx="7620581" cy="230188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489117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aphic 3">
            <a:extLst>
              <a:ext uri="{FF2B5EF4-FFF2-40B4-BE49-F238E27FC236}">
                <a16:creationId xmlns:a16="http://schemas.microsoft.com/office/drawing/2014/main" id="{0A1FDE5F-F5CC-4845-944B-48A25DC07EF0}"/>
              </a:ext>
            </a:extLst>
          </p:cNvPr>
          <p:cNvSpPr>
            <a:spLocks/>
          </p:cNvSpPr>
          <p:nvPr/>
        </p:nvSpPr>
        <p:spPr>
          <a:xfrm>
            <a:off x="0" y="5212080"/>
            <a:ext cx="12188952" cy="164592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5486400" cy="6400799"/>
          </a:xfrm>
        </p:spPr>
        <p:txBody>
          <a:bodyPr anchor="ctr" anchorCtr="1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5599F8E-9667-459C-A7EF-093C0C24B0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80698" y="0"/>
            <a:ext cx="3921752" cy="65277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5915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0E383472-5454-443F-B162-B33D709117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228600"/>
            <a:ext cx="11521439" cy="6400800"/>
          </a:xfrm>
        </p:spPr>
        <p:txBody>
          <a:bodyPr lIns="91440" r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5813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phic 3">
            <a:extLst>
              <a:ext uri="{FF2B5EF4-FFF2-40B4-BE49-F238E27FC236}">
                <a16:creationId xmlns:a16="http://schemas.microsoft.com/office/drawing/2014/main" id="{9F6F5170-03E0-4F11-AD88-551021EC7DEF}"/>
              </a:ext>
            </a:extLst>
          </p:cNvPr>
          <p:cNvSpPr>
            <a:spLocks/>
          </p:cNvSpPr>
          <p:nvPr/>
        </p:nvSpPr>
        <p:spPr>
          <a:xfrm>
            <a:off x="6096000" y="0"/>
            <a:ext cx="6094476" cy="685800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5486400" cy="6400799"/>
          </a:xfrm>
        </p:spPr>
        <p:txBody>
          <a:bodyPr anchor="ctr" anchorCtr="1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BDF2A30-DAEF-4E68-9D46-A16C728E722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74533" b="57798"/>
          <a:stretch/>
        </p:blipFill>
        <p:spPr>
          <a:xfrm>
            <a:off x="7700220" y="914400"/>
            <a:ext cx="4491780" cy="5943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63622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s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5486400" cy="6400799"/>
          </a:xfrm>
        </p:spPr>
        <p:txBody>
          <a:bodyPr anchor="ctr" anchorCtr="1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16346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Halfs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228600"/>
            <a:ext cx="5486400" cy="3200400"/>
          </a:xfrm>
        </p:spPr>
        <p:txBody>
          <a:bodyPr lIns="91440" rIns="91440" anchor="b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280" y="3429000"/>
            <a:ext cx="5486400" cy="3200400"/>
          </a:xfrm>
        </p:spPr>
        <p:txBody>
          <a:bodyPr lIns="137160" tIns="182880" rIns="137160" bIns="182880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752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0B4D03-7691-4843-8ADC-98DB675CE0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3B22C15-7EC6-4021-AD3F-B561260F355A}"/>
              </a:ext>
            </a:extLst>
          </p:cNvPr>
          <p:cNvSpPr/>
          <p:nvPr/>
        </p:nvSpPr>
        <p:spPr>
          <a:xfrm flipH="1">
            <a:off x="0" y="6362624"/>
            <a:ext cx="11507877" cy="495376"/>
          </a:xfrm>
          <a:custGeom>
            <a:avLst/>
            <a:gdLst>
              <a:gd name="connsiteX0" fmla="*/ 11507877 w 11507877"/>
              <a:gd name="connsiteY0" fmla="*/ 0 h 495376"/>
              <a:gd name="connsiteX1" fmla="*/ 0 w 11507877"/>
              <a:gd name="connsiteY1" fmla="*/ 0 h 495376"/>
              <a:gd name="connsiteX2" fmla="*/ 495376 w 11507877"/>
              <a:gd name="connsiteY2" fmla="*/ 495376 h 495376"/>
              <a:gd name="connsiteX3" fmla="*/ 11507877 w 11507877"/>
              <a:gd name="connsiteY3" fmla="*/ 495376 h 495376"/>
              <a:gd name="connsiteX4" fmla="*/ 11507877 w 11507877"/>
              <a:gd name="connsiteY4" fmla="*/ 0 h 49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7877" h="495376">
                <a:moveTo>
                  <a:pt x="11507877" y="0"/>
                </a:moveTo>
                <a:lnTo>
                  <a:pt x="0" y="0"/>
                </a:lnTo>
                <a:cubicBezTo>
                  <a:pt x="0" y="274091"/>
                  <a:pt x="221285" y="495376"/>
                  <a:pt x="495376" y="495376"/>
                </a:cubicBezTo>
                <a:lnTo>
                  <a:pt x="11507877" y="495376"/>
                </a:lnTo>
                <a:lnTo>
                  <a:pt x="11507877" y="0"/>
                </a:lnTo>
                <a:close/>
              </a:path>
            </a:pathLst>
          </a:custGeom>
          <a:solidFill>
            <a:schemeClr val="accent1"/>
          </a:solidFill>
          <a:ln w="2513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467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52C1C68-0BE4-4BD4-B4AB-0C9493C17F8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2" y="1235075"/>
            <a:ext cx="5486400" cy="5119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97414ACF-E6E1-45E5-8EE2-D495C7FC11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70320" y="1235075"/>
            <a:ext cx="5486400" cy="5119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1D42FBD-6323-4A31-AF80-88838F4246B6}"/>
              </a:ext>
            </a:extLst>
          </p:cNvPr>
          <p:cNvSpPr/>
          <p:nvPr/>
        </p:nvSpPr>
        <p:spPr>
          <a:xfrm flipH="1">
            <a:off x="0" y="6362624"/>
            <a:ext cx="11507877" cy="495376"/>
          </a:xfrm>
          <a:custGeom>
            <a:avLst/>
            <a:gdLst>
              <a:gd name="connsiteX0" fmla="*/ 11507877 w 11507877"/>
              <a:gd name="connsiteY0" fmla="*/ 0 h 495376"/>
              <a:gd name="connsiteX1" fmla="*/ 0 w 11507877"/>
              <a:gd name="connsiteY1" fmla="*/ 0 h 495376"/>
              <a:gd name="connsiteX2" fmla="*/ 495376 w 11507877"/>
              <a:gd name="connsiteY2" fmla="*/ 495376 h 495376"/>
              <a:gd name="connsiteX3" fmla="*/ 11507877 w 11507877"/>
              <a:gd name="connsiteY3" fmla="*/ 495376 h 495376"/>
              <a:gd name="connsiteX4" fmla="*/ 11507877 w 11507877"/>
              <a:gd name="connsiteY4" fmla="*/ 0 h 49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7877" h="495376">
                <a:moveTo>
                  <a:pt x="11507877" y="0"/>
                </a:moveTo>
                <a:lnTo>
                  <a:pt x="0" y="0"/>
                </a:lnTo>
                <a:cubicBezTo>
                  <a:pt x="0" y="274091"/>
                  <a:pt x="221285" y="495376"/>
                  <a:pt x="495376" y="495376"/>
                </a:cubicBezTo>
                <a:lnTo>
                  <a:pt x="11507877" y="495376"/>
                </a:lnTo>
                <a:lnTo>
                  <a:pt x="11507877" y="0"/>
                </a:lnTo>
                <a:close/>
              </a:path>
            </a:pathLst>
          </a:custGeom>
          <a:solidFill>
            <a:schemeClr val="accent1"/>
          </a:solidFill>
          <a:ln w="2513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9418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5B21A2B-35BD-410F-9AAB-71DFDFC64FE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2" y="1235075"/>
            <a:ext cx="3657600" cy="5119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E1FDE994-B156-4570-A031-139DD055797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267200" y="1235075"/>
            <a:ext cx="3657600" cy="5119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92B91E1A-CCE9-4D10-A61F-184C0847C69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199120" y="1235075"/>
            <a:ext cx="3657600" cy="5119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3360295B-F6FA-4FAF-814B-9BFEFD489A84}"/>
              </a:ext>
            </a:extLst>
          </p:cNvPr>
          <p:cNvSpPr/>
          <p:nvPr/>
        </p:nvSpPr>
        <p:spPr>
          <a:xfrm flipH="1">
            <a:off x="0" y="6362624"/>
            <a:ext cx="11507877" cy="495376"/>
          </a:xfrm>
          <a:custGeom>
            <a:avLst/>
            <a:gdLst>
              <a:gd name="connsiteX0" fmla="*/ 11507877 w 11507877"/>
              <a:gd name="connsiteY0" fmla="*/ 0 h 495376"/>
              <a:gd name="connsiteX1" fmla="*/ 0 w 11507877"/>
              <a:gd name="connsiteY1" fmla="*/ 0 h 495376"/>
              <a:gd name="connsiteX2" fmla="*/ 495376 w 11507877"/>
              <a:gd name="connsiteY2" fmla="*/ 495376 h 495376"/>
              <a:gd name="connsiteX3" fmla="*/ 11507877 w 11507877"/>
              <a:gd name="connsiteY3" fmla="*/ 495376 h 495376"/>
              <a:gd name="connsiteX4" fmla="*/ 11507877 w 11507877"/>
              <a:gd name="connsiteY4" fmla="*/ 0 h 49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7877" h="495376">
                <a:moveTo>
                  <a:pt x="11507877" y="0"/>
                </a:moveTo>
                <a:lnTo>
                  <a:pt x="0" y="0"/>
                </a:lnTo>
                <a:cubicBezTo>
                  <a:pt x="0" y="274091"/>
                  <a:pt x="221285" y="495376"/>
                  <a:pt x="495376" y="495376"/>
                </a:cubicBezTo>
                <a:lnTo>
                  <a:pt x="11507877" y="495376"/>
                </a:lnTo>
                <a:lnTo>
                  <a:pt x="11507877" y="0"/>
                </a:lnTo>
                <a:close/>
              </a:path>
            </a:pathLst>
          </a:custGeom>
          <a:solidFill>
            <a:schemeClr val="accent1"/>
          </a:solidFill>
          <a:ln w="2513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Graphic 13">
            <a:extLst>
              <a:ext uri="{FF2B5EF4-FFF2-40B4-BE49-F238E27FC236}">
                <a16:creationId xmlns:a16="http://schemas.microsoft.com/office/drawing/2014/main" id="{129DBC58-1033-4F8F-81C4-678D1A47381F}"/>
              </a:ext>
            </a:extLst>
          </p:cNvPr>
          <p:cNvSpPr>
            <a:spLocks noChangeAspect="1"/>
          </p:cNvSpPr>
          <p:nvPr/>
        </p:nvSpPr>
        <p:spPr>
          <a:xfrm>
            <a:off x="10204532" y="6355080"/>
            <a:ext cx="1332148" cy="502920"/>
          </a:xfrm>
          <a:custGeom>
            <a:avLst/>
            <a:gdLst>
              <a:gd name="connsiteX0" fmla="*/ 1342918 w 1343247"/>
              <a:gd name="connsiteY0" fmla="*/ 37719 h 507110"/>
              <a:gd name="connsiteX1" fmla="*/ 1310787 w 1343247"/>
              <a:gd name="connsiteY1" fmla="*/ 0 h 507110"/>
              <a:gd name="connsiteX2" fmla="*/ 705886 w 1343247"/>
              <a:gd name="connsiteY2" fmla="*/ 0 h 507110"/>
              <a:gd name="connsiteX3" fmla="*/ 4592 w 1343247"/>
              <a:gd name="connsiteY3" fmla="*/ 494538 h 507110"/>
              <a:gd name="connsiteX4" fmla="*/ 5989 w 1343247"/>
              <a:gd name="connsiteY4" fmla="*/ 507111 h 507110"/>
              <a:gd name="connsiteX5" fmla="*/ 781324 w 1343247"/>
              <a:gd name="connsiteY5" fmla="*/ 507111 h 507110"/>
              <a:gd name="connsiteX6" fmla="*/ 1342918 w 1343247"/>
              <a:gd name="connsiteY6" fmla="*/ 37719 h 507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3247" h="507110">
                <a:moveTo>
                  <a:pt x="1342918" y="37719"/>
                </a:moveTo>
                <a:cubicBezTo>
                  <a:pt x="1345712" y="18161"/>
                  <a:pt x="1330345" y="0"/>
                  <a:pt x="1310787" y="0"/>
                </a:cubicBezTo>
                <a:lnTo>
                  <a:pt x="705886" y="0"/>
                </a:lnTo>
                <a:cubicBezTo>
                  <a:pt x="229509" y="0"/>
                  <a:pt x="323108" y="409321"/>
                  <a:pt x="4592" y="494538"/>
                </a:cubicBezTo>
                <a:cubicBezTo>
                  <a:pt x="-2393" y="495935"/>
                  <a:pt x="-996" y="507111"/>
                  <a:pt x="5989" y="507111"/>
                </a:cubicBezTo>
                <a:lnTo>
                  <a:pt x="781324" y="507111"/>
                </a:lnTo>
                <a:cubicBezTo>
                  <a:pt x="1024402" y="507111"/>
                  <a:pt x="1301008" y="333883"/>
                  <a:pt x="1342918" y="37719"/>
                </a:cubicBezTo>
                <a:close/>
              </a:path>
            </a:pathLst>
          </a:custGeom>
          <a:solidFill>
            <a:srgbClr val="C8161D"/>
          </a:solidFill>
          <a:ln w="1389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0488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aphic 3">
            <a:extLst>
              <a:ext uri="{FF2B5EF4-FFF2-40B4-BE49-F238E27FC236}">
                <a16:creationId xmlns:a16="http://schemas.microsoft.com/office/drawing/2014/main" id="{4D4F4101-10C5-4019-90A9-11F504117E2C}"/>
              </a:ext>
            </a:extLst>
          </p:cNvPr>
          <p:cNvSpPr>
            <a:spLocks/>
          </p:cNvSpPr>
          <p:nvPr/>
        </p:nvSpPr>
        <p:spPr>
          <a:xfrm>
            <a:off x="1524" y="6263640"/>
            <a:ext cx="12188952" cy="59436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67B3453-D9F6-43AF-B722-4CCF6B26FB3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-1" r="35592" b="23725"/>
          <a:stretch/>
        </p:blipFill>
        <p:spPr>
          <a:xfrm>
            <a:off x="5379721" y="416321"/>
            <a:ext cx="6812279" cy="64416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228600"/>
            <a:ext cx="5760720" cy="3200400"/>
          </a:xfrm>
        </p:spPr>
        <p:txBody>
          <a:bodyPr lIns="91440" rIns="91440" anchor="b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280" y="3428999"/>
            <a:ext cx="5760720" cy="3200399"/>
          </a:xfrm>
        </p:spPr>
        <p:txBody>
          <a:bodyPr lIns="137160" tIns="182880" rIns="137160" bIns="182880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4735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9617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893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228600"/>
            <a:ext cx="9144000" cy="6400799"/>
          </a:xfrm>
        </p:spPr>
        <p:txBody>
          <a:bodyPr anchor="ctr" anchorCtr="1"/>
          <a:lstStyle>
            <a:lvl1pPr algn="l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63070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8400" y="228600"/>
            <a:ext cx="7315200" cy="6400799"/>
          </a:xfrm>
        </p:spPr>
        <p:txBody>
          <a:bodyPr anchor="ctr" anchorCtr="1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2524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8400" y="228600"/>
            <a:ext cx="7315200" cy="6400799"/>
          </a:xfrm>
        </p:spPr>
        <p:txBody>
          <a:bodyPr anchor="ctr" anchorCtr="1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139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137903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DD7EE2F-56DA-4FC6-9605-07FD606C55A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244475 w 12192000"/>
              <a:gd name="connsiteY0" fmla="*/ 228600 h 6858000"/>
              <a:gd name="connsiteX1" fmla="*/ 244475 w 12192000"/>
              <a:gd name="connsiteY1" fmla="*/ 6629400 h 6858000"/>
              <a:gd name="connsiteX2" fmla="*/ 11947525 w 12192000"/>
              <a:gd name="connsiteY2" fmla="*/ 6629400 h 6858000"/>
              <a:gd name="connsiteX3" fmla="*/ 11947525 w 12192000"/>
              <a:gd name="connsiteY3" fmla="*/ 228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244475" y="228600"/>
                </a:moveTo>
                <a:lnTo>
                  <a:pt x="244475" y="6629400"/>
                </a:lnTo>
                <a:lnTo>
                  <a:pt x="11947525" y="6629400"/>
                </a:lnTo>
                <a:lnTo>
                  <a:pt x="11947525" y="228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69963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3C329411-F38A-4621-B822-B1D93BFA34B6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0FF2E7B-84E2-4B03-8B74-F89D93D3029A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>
                <a:gd name="connsiteX0" fmla="*/ 0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11948160 w 12192000"/>
                <a:gd name="connsiteY3" fmla="*/ 6858000 h 6858000"/>
                <a:gd name="connsiteX4" fmla="*/ 11948160 w 12192000"/>
                <a:gd name="connsiteY4" fmla="*/ 5623560 h 6858000"/>
                <a:gd name="connsiteX5" fmla="*/ 11947525 w 12192000"/>
                <a:gd name="connsiteY5" fmla="*/ 5623560 h 6858000"/>
                <a:gd name="connsiteX6" fmla="*/ 11947525 w 12192000"/>
                <a:gd name="connsiteY6" fmla="*/ 228600 h 6858000"/>
                <a:gd name="connsiteX7" fmla="*/ 244475 w 12192000"/>
                <a:gd name="connsiteY7" fmla="*/ 228600 h 6858000"/>
                <a:gd name="connsiteX8" fmla="*/ 244475 w 12192000"/>
                <a:gd name="connsiteY8" fmla="*/ 6629400 h 6858000"/>
                <a:gd name="connsiteX9" fmla="*/ 10759440 w 12192000"/>
                <a:gd name="connsiteY9" fmla="*/ 6629400 h 6858000"/>
                <a:gd name="connsiteX10" fmla="*/ 10759440 w 12192000"/>
                <a:gd name="connsiteY10" fmla="*/ 6858000 h 6858000"/>
                <a:gd name="connsiteX11" fmla="*/ 0 w 12192000"/>
                <a:gd name="connsiteY11" fmla="*/ 6858000 h 6858000"/>
                <a:gd name="connsiteX12" fmla="*/ 0 w 12192000"/>
                <a:gd name="connsiteY12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192000" h="6858000">
                  <a:moveTo>
                    <a:pt x="0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11948160" y="6858000"/>
                  </a:lnTo>
                  <a:lnTo>
                    <a:pt x="11948160" y="5623560"/>
                  </a:lnTo>
                  <a:lnTo>
                    <a:pt x="11947525" y="5623560"/>
                  </a:lnTo>
                  <a:lnTo>
                    <a:pt x="11947525" y="228600"/>
                  </a:lnTo>
                  <a:lnTo>
                    <a:pt x="244475" y="228600"/>
                  </a:lnTo>
                  <a:lnTo>
                    <a:pt x="244475" y="6629400"/>
                  </a:lnTo>
                  <a:lnTo>
                    <a:pt x="10759440" y="6629400"/>
                  </a:lnTo>
                  <a:lnTo>
                    <a:pt x="1075944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8" name="Graphic 10">
              <a:extLst>
                <a:ext uri="{FF2B5EF4-FFF2-40B4-BE49-F238E27FC236}">
                  <a16:creationId xmlns:a16="http://schemas.microsoft.com/office/drawing/2014/main" id="{4018B138-26D4-4E7D-A0DC-6D616584598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39400" y="6629400"/>
              <a:ext cx="617220" cy="228600"/>
            </a:xfrm>
            <a:custGeom>
              <a:avLst/>
              <a:gdLst>
                <a:gd name="connsiteX0" fmla="*/ 772368 w 771525"/>
                <a:gd name="connsiteY0" fmla="*/ 269558 h 285750"/>
                <a:gd name="connsiteX1" fmla="*/ 753318 w 771525"/>
                <a:gd name="connsiteY1" fmla="*/ 291465 h 285750"/>
                <a:gd name="connsiteX2" fmla="*/ 406608 w 771525"/>
                <a:gd name="connsiteY2" fmla="*/ 291465 h 285750"/>
                <a:gd name="connsiteX3" fmla="*/ 2748 w 771525"/>
                <a:gd name="connsiteY3" fmla="*/ 6668 h 285750"/>
                <a:gd name="connsiteX4" fmla="*/ 3701 w 771525"/>
                <a:gd name="connsiteY4" fmla="*/ 0 h 285750"/>
                <a:gd name="connsiteX5" fmla="*/ 450423 w 771525"/>
                <a:gd name="connsiteY5" fmla="*/ 0 h 285750"/>
                <a:gd name="connsiteX6" fmla="*/ 772368 w 771525"/>
                <a:gd name="connsiteY6" fmla="*/ 269558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1525" h="285750">
                  <a:moveTo>
                    <a:pt x="772368" y="269558"/>
                  </a:moveTo>
                  <a:cubicBezTo>
                    <a:pt x="774273" y="280988"/>
                    <a:pt x="764748" y="291465"/>
                    <a:pt x="753318" y="291465"/>
                  </a:cubicBezTo>
                  <a:lnTo>
                    <a:pt x="406608" y="291465"/>
                  </a:lnTo>
                  <a:cubicBezTo>
                    <a:pt x="131336" y="291465"/>
                    <a:pt x="185628" y="56198"/>
                    <a:pt x="2748" y="6668"/>
                  </a:cubicBezTo>
                  <a:cubicBezTo>
                    <a:pt x="-1062" y="5715"/>
                    <a:pt x="-1062" y="0"/>
                    <a:pt x="3701" y="0"/>
                  </a:cubicBezTo>
                  <a:lnTo>
                    <a:pt x="450423" y="0"/>
                  </a:lnTo>
                  <a:cubicBezTo>
                    <a:pt x="589488" y="0"/>
                    <a:pt x="748556" y="99060"/>
                    <a:pt x="772368" y="26955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7151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2FAF2E-865B-8144-BE35-713D54848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572000"/>
            <a:ext cx="11522076" cy="1097280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chemeClr val="bg1"/>
                </a:solidFill>
                <a:latin typeface="Speedee" panose="020B06030305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Graphic 4">
            <a:extLst>
              <a:ext uri="{FF2B5EF4-FFF2-40B4-BE49-F238E27FC236}">
                <a16:creationId xmlns:a16="http://schemas.microsoft.com/office/drawing/2014/main" id="{C3921F8B-7D89-4D3C-A0B7-A4A5676B0457}"/>
              </a:ext>
            </a:extLst>
          </p:cNvPr>
          <p:cNvSpPr/>
          <p:nvPr/>
        </p:nvSpPr>
        <p:spPr>
          <a:xfrm>
            <a:off x="3166291" y="1654806"/>
            <a:ext cx="5851803" cy="2538743"/>
          </a:xfrm>
          <a:custGeom>
            <a:avLst/>
            <a:gdLst>
              <a:gd name="connsiteX0" fmla="*/ 5045752 w 5851802"/>
              <a:gd name="connsiteY0" fmla="*/ 0 h 2538742"/>
              <a:gd name="connsiteX1" fmla="*/ 4895966 w 5851802"/>
              <a:gd name="connsiteY1" fmla="*/ 313535 h 2538742"/>
              <a:gd name="connsiteX2" fmla="*/ 5156187 w 5851802"/>
              <a:gd name="connsiteY2" fmla="*/ 427778 h 2538742"/>
              <a:gd name="connsiteX3" fmla="*/ 2929710 w 5851802"/>
              <a:gd name="connsiteY3" fmla="*/ 1942138 h 2538742"/>
              <a:gd name="connsiteX4" fmla="*/ 704501 w 5851802"/>
              <a:gd name="connsiteY4" fmla="*/ 426509 h 2538742"/>
              <a:gd name="connsiteX5" fmla="*/ 964722 w 5851802"/>
              <a:gd name="connsiteY5" fmla="*/ 312265 h 2538742"/>
              <a:gd name="connsiteX6" fmla="*/ 814937 w 5851802"/>
              <a:gd name="connsiteY6" fmla="*/ 0 h 2538742"/>
              <a:gd name="connsiteX7" fmla="*/ 0 w 5851802"/>
              <a:gd name="connsiteY7" fmla="*/ 371926 h 2538742"/>
              <a:gd name="connsiteX8" fmla="*/ 144708 w 5851802"/>
              <a:gd name="connsiteY8" fmla="*/ 680383 h 2538742"/>
              <a:gd name="connsiteX9" fmla="*/ 435394 w 5851802"/>
              <a:gd name="connsiteY9" fmla="*/ 545830 h 2538742"/>
              <a:gd name="connsiteX10" fmla="*/ 2929710 w 5851802"/>
              <a:gd name="connsiteY10" fmla="*/ 2546359 h 2538742"/>
              <a:gd name="connsiteX11" fmla="*/ 5425294 w 5851802"/>
              <a:gd name="connsiteY11" fmla="*/ 545830 h 2538742"/>
              <a:gd name="connsiteX12" fmla="*/ 5715980 w 5851802"/>
              <a:gd name="connsiteY12" fmla="*/ 680383 h 2538742"/>
              <a:gd name="connsiteX13" fmla="*/ 5860688 w 5851802"/>
              <a:gd name="connsiteY13" fmla="*/ 371926 h 2538742"/>
              <a:gd name="connsiteX14" fmla="*/ 5045752 w 5851802"/>
              <a:gd name="connsiteY14" fmla="*/ 0 h 2538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851802" h="2538742">
                <a:moveTo>
                  <a:pt x="5045752" y="0"/>
                </a:moveTo>
                <a:lnTo>
                  <a:pt x="4895966" y="313535"/>
                </a:lnTo>
                <a:lnTo>
                  <a:pt x="5156187" y="427778"/>
                </a:lnTo>
                <a:cubicBezTo>
                  <a:pt x="4774106" y="1535939"/>
                  <a:pt x="3698949" y="1942138"/>
                  <a:pt x="2929710" y="1942138"/>
                </a:cubicBezTo>
                <a:cubicBezTo>
                  <a:pt x="2160470" y="1942138"/>
                  <a:pt x="1086582" y="1535939"/>
                  <a:pt x="704501" y="426509"/>
                </a:cubicBezTo>
                <a:lnTo>
                  <a:pt x="964722" y="312265"/>
                </a:lnTo>
                <a:lnTo>
                  <a:pt x="814937" y="0"/>
                </a:lnTo>
                <a:lnTo>
                  <a:pt x="0" y="371926"/>
                </a:lnTo>
                <a:lnTo>
                  <a:pt x="144708" y="680383"/>
                </a:lnTo>
                <a:lnTo>
                  <a:pt x="435394" y="545830"/>
                </a:lnTo>
                <a:cubicBezTo>
                  <a:pt x="586450" y="1120855"/>
                  <a:pt x="1375999" y="2546359"/>
                  <a:pt x="2929710" y="2546359"/>
                </a:cubicBezTo>
                <a:cubicBezTo>
                  <a:pt x="4483420" y="2546359"/>
                  <a:pt x="5274239" y="1120855"/>
                  <a:pt x="5425294" y="545830"/>
                </a:cubicBezTo>
                <a:lnTo>
                  <a:pt x="5715980" y="680383"/>
                </a:lnTo>
                <a:lnTo>
                  <a:pt x="5860688" y="371926"/>
                </a:lnTo>
                <a:lnTo>
                  <a:pt x="5045752" y="0"/>
                </a:lnTo>
                <a:close/>
              </a:path>
            </a:pathLst>
          </a:custGeom>
          <a:solidFill>
            <a:schemeClr val="accent1"/>
          </a:solidFill>
          <a:ln w="1269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75909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2" y="1600200"/>
            <a:ext cx="11522076" cy="1828800"/>
          </a:xfrm>
        </p:spPr>
        <p:txBody>
          <a:bodyPr lIns="91440" rIns="91440" anchor="b">
            <a:noAutofit/>
          </a:bodyPr>
          <a:lstStyle>
            <a:lvl1pPr algn="ctr">
              <a:defRPr sz="4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2" y="3429000"/>
            <a:ext cx="11522076" cy="1828800"/>
          </a:xfrm>
        </p:spPr>
        <p:txBody>
          <a:bodyPr lIns="137160" tIns="182880" rIns="137160" bIns="182880" anchor="t" anchorCtr="1"/>
          <a:lstStyle>
            <a:lvl1pPr marL="0" indent="0" algn="l"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90787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095532DA-6405-471A-924F-9BD6A6B1F35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74533" b="57798"/>
          <a:stretch/>
        </p:blipFill>
        <p:spPr>
          <a:xfrm>
            <a:off x="7700220" y="914400"/>
            <a:ext cx="4491780" cy="59436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79" y="228600"/>
            <a:ext cx="7791133" cy="3200400"/>
          </a:xfrm>
        </p:spPr>
        <p:txBody>
          <a:bodyPr lIns="91440" rIns="91440" anchor="b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279" y="3429000"/>
            <a:ext cx="7791133" cy="3200400"/>
          </a:xfrm>
        </p:spPr>
        <p:txBody>
          <a:bodyPr lIns="137160" tIns="182880" rIns="137160" bIns="182880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598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38F840B2-DCF3-4349-96E4-077263A0F28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3076" y="1279319"/>
            <a:ext cx="8823324" cy="5120640"/>
          </a:xfrm>
        </p:spPr>
        <p:txBody>
          <a:bodyPr wrap="square" lIns="137160" anchor="ctr" anchorCtr="0"/>
          <a:lstStyle>
            <a:lvl1pPr algn="l">
              <a:defRPr sz="2000"/>
            </a:lvl1pPr>
            <a:lvl2pPr algn="l">
              <a:buClr>
                <a:schemeClr val="tx1"/>
              </a:buClr>
              <a:defRPr sz="1800"/>
            </a:lvl2pPr>
            <a:lvl3pPr algn="l">
              <a:buClr>
                <a:schemeClr val="tx1"/>
              </a:buClr>
              <a:defRPr sz="1800"/>
            </a:lvl3pPr>
            <a:lvl4pPr algn="l">
              <a:buClr>
                <a:schemeClr val="tx1"/>
              </a:buClr>
              <a:defRPr sz="1800"/>
            </a:lvl4pPr>
            <a:lvl5pPr algn="l">
              <a:buClr>
                <a:schemeClr val="tx1"/>
              </a:buCl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B615C9EC-86CF-FA4A-926E-E7D47D3BA8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A39392-15B0-4629-9A47-323464680A3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65CD9-7A46-844A-913F-02E222B12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65927"/>
            <a:ext cx="8823325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A94D66E-8A3B-104D-AE0D-B923638D66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7777" t="16711" b="12500"/>
          <a:stretch/>
        </p:blipFill>
        <p:spPr>
          <a:xfrm>
            <a:off x="11785600" y="0"/>
            <a:ext cx="32512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21221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9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363402-425A-4944-8104-1937C489E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522A316C-52CF-4124-82E7-165BEA6288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484" y="6488977"/>
            <a:ext cx="254236" cy="140423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1000" smtClean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A39392-15B0-4629-9A47-323464680A3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E90471E-3BFE-4044-B4E7-E3AD67A880DA}"/>
              </a:ext>
            </a:extLst>
          </p:cNvPr>
          <p:cNvGrpSpPr/>
          <p:nvPr/>
        </p:nvGrpSpPr>
        <p:grpSpPr>
          <a:xfrm>
            <a:off x="-1" y="0"/>
            <a:ext cx="12192001" cy="324000"/>
            <a:chOff x="-1" y="0"/>
            <a:chExt cx="12192001" cy="3240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F281A20-AEE3-4800-807A-950336D16D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337" t="32863" r="4811" b="1"/>
            <a:stretch/>
          </p:blipFill>
          <p:spPr>
            <a:xfrm>
              <a:off x="7595413" y="0"/>
              <a:ext cx="4596587" cy="32400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5167EA9-E68A-4EAE-9FD1-B10D9C07EB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337" t="32863" r="40144" b="19439"/>
            <a:stretch/>
          </p:blipFill>
          <p:spPr>
            <a:xfrm>
              <a:off x="-1" y="0"/>
              <a:ext cx="7620581" cy="230188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2396193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Line Title Slide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810381AA-6F3B-434D-8422-E9ECE5FC5D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83947" y="3722289"/>
            <a:ext cx="5156080" cy="1238249"/>
          </a:xfrm>
          <a:prstGeom prst="rect">
            <a:avLst/>
          </a:prstGeom>
        </p:spPr>
        <p:txBody>
          <a:bodyPr lIns="91440" tIns="182880" rIns="228600" bIns="182880" anchor="t" anchorCtr="0"/>
          <a:lstStyle>
            <a:lvl1pPr marL="0" indent="0" algn="r">
              <a:spcBef>
                <a:spcPts val="600"/>
              </a:spcBef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spcBef>
                <a:spcPts val="0"/>
              </a:spcBef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D3F72533-155C-ED47-A31B-01FFA5B7A63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731" r="-1"/>
          <a:stretch/>
        </p:blipFill>
        <p:spPr>
          <a:xfrm>
            <a:off x="0" y="0"/>
            <a:ext cx="5085448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7D27C231-BF81-0143-B523-B94639D66C3B}"/>
              </a:ext>
            </a:extLst>
          </p:cNvPr>
          <p:cNvGrpSpPr/>
          <p:nvPr/>
        </p:nvGrpSpPr>
        <p:grpSpPr>
          <a:xfrm>
            <a:off x="9648837" y="2597502"/>
            <a:ext cx="1887843" cy="945130"/>
            <a:chOff x="4202641" y="1997103"/>
            <a:chExt cx="1887843" cy="945130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B616C1E7-B94E-D64B-B001-0EE15BE6C052}"/>
                </a:ext>
              </a:extLst>
            </p:cNvPr>
            <p:cNvCxnSpPr>
              <a:cxnSpLocks/>
            </p:cNvCxnSpPr>
            <p:nvPr/>
          </p:nvCxnSpPr>
          <p:spPr>
            <a:xfrm>
              <a:off x="4202641" y="2081182"/>
              <a:ext cx="1887843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E8E8C3E-5B41-0441-AF7A-51F1B9F7FF96}"/>
                </a:ext>
              </a:extLst>
            </p:cNvPr>
            <p:cNvCxnSpPr>
              <a:cxnSpLocks/>
            </p:cNvCxnSpPr>
            <p:nvPr/>
          </p:nvCxnSpPr>
          <p:spPr>
            <a:xfrm>
              <a:off x="6004560" y="1997103"/>
              <a:ext cx="0" cy="94513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Picture 15" descr="GT_Logo.em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2020" y="303069"/>
            <a:ext cx="2448056" cy="71189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82821" y="3057557"/>
            <a:ext cx="5153032" cy="598890"/>
          </a:xfrm>
        </p:spPr>
        <p:txBody>
          <a:bodyPr lIns="182880" tIns="0" rIns="228600" anchor="b"/>
          <a:lstStyle>
            <a:lvl1pPr marL="0" indent="0" algn="r">
              <a:tabLst/>
              <a:defRPr sz="4400">
                <a:solidFill>
                  <a:schemeClr val="tx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Title go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43719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67">
          <p15:clr>
            <a:srgbClr val="FBAE40"/>
          </p15:clr>
        </p15:guide>
        <p15:guide id="2" orient="horz" pos="223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Line Title Slide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82821" y="3657600"/>
            <a:ext cx="5153032" cy="598890"/>
          </a:xfrm>
        </p:spPr>
        <p:txBody>
          <a:bodyPr lIns="182880" tIns="0" rIns="228600" anchor="b"/>
          <a:lstStyle>
            <a:lvl1pPr marL="0" indent="0" algn="r">
              <a:tabLst/>
              <a:defRPr sz="4400">
                <a:solidFill>
                  <a:schemeClr val="tx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A two line title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10381AA-6F3B-434D-8422-E9ECE5FC5D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82821" y="4293871"/>
            <a:ext cx="5156080" cy="1238249"/>
          </a:xfrm>
          <a:prstGeom prst="rect">
            <a:avLst/>
          </a:prstGeom>
        </p:spPr>
        <p:txBody>
          <a:bodyPr lIns="91440" tIns="182880" rIns="228600" bIns="182880" anchor="t" anchorCtr="0"/>
          <a:lstStyle>
            <a:lvl1pPr marL="0" indent="0" algn="r">
              <a:spcBef>
                <a:spcPts val="600"/>
              </a:spcBef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spcBef>
                <a:spcPts val="0"/>
              </a:spcBef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39CEB44-9E89-DC41-BCB7-E03D5FB4DA61}"/>
              </a:ext>
            </a:extLst>
          </p:cNvPr>
          <p:cNvGrpSpPr/>
          <p:nvPr/>
        </p:nvGrpSpPr>
        <p:grpSpPr>
          <a:xfrm>
            <a:off x="9648837" y="2597502"/>
            <a:ext cx="1887843" cy="945130"/>
            <a:chOff x="4202641" y="1997103"/>
            <a:chExt cx="1887843" cy="94513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E7667E4-8081-BA40-BD0C-76A8F4228560}"/>
                </a:ext>
              </a:extLst>
            </p:cNvPr>
            <p:cNvCxnSpPr>
              <a:cxnSpLocks/>
            </p:cNvCxnSpPr>
            <p:nvPr/>
          </p:nvCxnSpPr>
          <p:spPr>
            <a:xfrm>
              <a:off x="4202641" y="2081182"/>
              <a:ext cx="1887843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108A31E2-D290-1B42-9DA1-78E163F63DF0}"/>
                </a:ext>
              </a:extLst>
            </p:cNvPr>
            <p:cNvCxnSpPr>
              <a:cxnSpLocks/>
            </p:cNvCxnSpPr>
            <p:nvPr/>
          </p:nvCxnSpPr>
          <p:spPr>
            <a:xfrm>
              <a:off x="6004560" y="1997103"/>
              <a:ext cx="0" cy="94513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B0C82FFF-B591-D246-B684-92C3733D9CC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7938" t="658" r="1315" b="658"/>
          <a:stretch/>
        </p:blipFill>
        <p:spPr>
          <a:xfrm>
            <a:off x="0" y="0"/>
            <a:ext cx="4221480" cy="6858000"/>
          </a:xfrm>
          <a:prstGeom prst="rect">
            <a:avLst/>
          </a:prstGeom>
        </p:spPr>
      </p:pic>
      <p:pic>
        <p:nvPicPr>
          <p:cNvPr id="9" name="Picture 8" descr="GT_Logo.em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2020" y="303069"/>
            <a:ext cx="2448056" cy="71189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95079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67">
          <p15:clr>
            <a:srgbClr val="FBAE40"/>
          </p15:clr>
        </p15:guide>
        <p15:guide id="2" orient="horz" pos="223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eft w/ Sub &amp; Bra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2219" y="1234440"/>
            <a:ext cx="5622925" cy="2194560"/>
          </a:xfrm>
        </p:spPr>
        <p:txBody>
          <a:bodyPr anchor="b"/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10381AA-6F3B-434D-8422-E9ECE5FC5D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2219" y="3455634"/>
            <a:ext cx="5622925" cy="2194560"/>
          </a:xfrm>
          <a:prstGeom prst="rect">
            <a:avLst/>
          </a:prstGeom>
        </p:spPr>
        <p:txBody>
          <a:bodyPr tIns="182880" bIns="182880" anchor="t" anchorCtr="0"/>
          <a:lstStyle>
            <a:lvl1pPr marL="0" indent="0" algn="l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CE84327-F512-2B43-A315-4DFCD4F471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81B56F1-E620-A94C-A686-EF7251027E62}"/>
              </a:ext>
            </a:extLst>
          </p:cNvPr>
          <p:cNvGrpSpPr/>
          <p:nvPr/>
        </p:nvGrpSpPr>
        <p:grpSpPr>
          <a:xfrm>
            <a:off x="9748689" y="468283"/>
            <a:ext cx="1968750" cy="960120"/>
            <a:chOff x="9748689" y="468283"/>
            <a:chExt cx="1968750" cy="96012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D6A517E-7CEC-B345-A5D2-995F553E6D61}"/>
                </a:ext>
              </a:extLst>
            </p:cNvPr>
            <p:cNvCxnSpPr>
              <a:cxnSpLocks/>
            </p:cNvCxnSpPr>
            <p:nvPr/>
          </p:nvCxnSpPr>
          <p:spPr>
            <a:xfrm>
              <a:off x="9748689" y="550437"/>
              <a:ext cx="1968750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A2B77D-586F-074A-B95F-85E418DAC161}"/>
                </a:ext>
              </a:extLst>
            </p:cNvPr>
            <p:cNvCxnSpPr>
              <a:cxnSpLocks/>
            </p:cNvCxnSpPr>
            <p:nvPr/>
          </p:nvCxnSpPr>
          <p:spPr>
            <a:xfrm>
              <a:off x="11633001" y="468283"/>
              <a:ext cx="0" cy="96012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Box 4"/>
          <p:cNvSpPr txBox="1"/>
          <p:nvPr/>
        </p:nvSpPr>
        <p:spPr>
          <a:xfrm>
            <a:off x="482219" y="468283"/>
            <a:ext cx="84979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Digital – April Governance Committe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0041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eft with Bra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1755" y="2743200"/>
            <a:ext cx="5622925" cy="1417320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CE84327-F512-2B43-A315-4DFCD4F471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9949E6D-90C8-F24A-9F7F-408D440FC6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50" t="16711" b="12500"/>
          <a:stretch/>
        </p:blipFill>
        <p:spPr>
          <a:xfrm>
            <a:off x="-30480" y="0"/>
            <a:ext cx="118872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14525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Yellow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DC6089AD-576A-6647-8C8E-DCC31DE52D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993" y="457201"/>
            <a:ext cx="11240741" cy="5952106"/>
          </a:xfrm>
          <a:prstGeom prst="rect">
            <a:avLst/>
          </a:prstGeom>
        </p:spPr>
      </p:pic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A8CDBDBE-CCD7-44B3-831B-04900F3CC1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05854-1F0B-D045-B7C0-F5BDDC1B72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3920" y="3085362"/>
            <a:ext cx="8778240" cy="685800"/>
          </a:xfrm>
          <a:noFill/>
        </p:spPr>
        <p:txBody>
          <a:bodyPr lIns="137160" rIns="137160" anchor="ctr" anchorCtr="0"/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3694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57">
          <p15:clr>
            <a:srgbClr val="FBAE40"/>
          </p15:clr>
        </p15:guide>
        <p15:guide id="2" pos="721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 Full: Title &amp;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895A7BC1-3835-7A41-874C-6B4214A8A9F9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475488" y="453561"/>
            <a:ext cx="11248434" cy="5947240"/>
          </a:xfrm>
          <a:custGeom>
            <a:avLst/>
            <a:gdLst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4818040 w 5158611"/>
              <a:gd name="connsiteY2" fmla="*/ 0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8611"/>
              <a:gd name="connsiteY0" fmla="*/ 340840 h 5943869"/>
              <a:gd name="connsiteX1" fmla="*/ 340571 w 5158611"/>
              <a:gd name="connsiteY1" fmla="*/ 269 h 5943869"/>
              <a:gd name="connsiteX2" fmla="*/ 4818040 w 5158611"/>
              <a:gd name="connsiteY2" fmla="*/ 269 h 5943869"/>
              <a:gd name="connsiteX3" fmla="*/ 5158611 w 5158611"/>
              <a:gd name="connsiteY3" fmla="*/ 340840 h 5943869"/>
              <a:gd name="connsiteX4" fmla="*/ 5158611 w 5158611"/>
              <a:gd name="connsiteY4" fmla="*/ 5603298 h 5943869"/>
              <a:gd name="connsiteX5" fmla="*/ 4818040 w 5158611"/>
              <a:gd name="connsiteY5" fmla="*/ 5943869 h 5943869"/>
              <a:gd name="connsiteX6" fmla="*/ 340571 w 5158611"/>
              <a:gd name="connsiteY6" fmla="*/ 5943869 h 5943869"/>
              <a:gd name="connsiteX7" fmla="*/ 0 w 5158611"/>
              <a:gd name="connsiteY7" fmla="*/ 5603298 h 5943869"/>
              <a:gd name="connsiteX8" fmla="*/ 0 w 5158611"/>
              <a:gd name="connsiteY8" fmla="*/ 340840 h 5943869"/>
              <a:gd name="connsiteX0" fmla="*/ 0 w 5164500"/>
              <a:gd name="connsiteY0" fmla="*/ 356316 h 5959345"/>
              <a:gd name="connsiteX1" fmla="*/ 340571 w 5164500"/>
              <a:gd name="connsiteY1" fmla="*/ 15745 h 5959345"/>
              <a:gd name="connsiteX2" fmla="*/ 5143505 w 5164500"/>
              <a:gd name="connsiteY2" fmla="*/ 247 h 5959345"/>
              <a:gd name="connsiteX3" fmla="*/ 5158611 w 5164500"/>
              <a:gd name="connsiteY3" fmla="*/ 356316 h 5959345"/>
              <a:gd name="connsiteX4" fmla="*/ 5158611 w 5164500"/>
              <a:gd name="connsiteY4" fmla="*/ 5618774 h 5959345"/>
              <a:gd name="connsiteX5" fmla="*/ 4818040 w 5164500"/>
              <a:gd name="connsiteY5" fmla="*/ 5959345 h 5959345"/>
              <a:gd name="connsiteX6" fmla="*/ 340571 w 5164500"/>
              <a:gd name="connsiteY6" fmla="*/ 5959345 h 5959345"/>
              <a:gd name="connsiteX7" fmla="*/ 0 w 5164500"/>
              <a:gd name="connsiteY7" fmla="*/ 5618774 h 5959345"/>
              <a:gd name="connsiteX8" fmla="*/ 0 w 5164500"/>
              <a:gd name="connsiteY8" fmla="*/ 356316 h 5959345"/>
              <a:gd name="connsiteX0" fmla="*/ 0 w 5158611"/>
              <a:gd name="connsiteY0" fmla="*/ 356126 h 5959155"/>
              <a:gd name="connsiteX1" fmla="*/ 340571 w 5158611"/>
              <a:gd name="connsiteY1" fmla="*/ 15555 h 5959155"/>
              <a:gd name="connsiteX2" fmla="*/ 5143505 w 5158611"/>
              <a:gd name="connsiteY2" fmla="*/ 57 h 5959155"/>
              <a:gd name="connsiteX3" fmla="*/ 5158611 w 5158611"/>
              <a:gd name="connsiteY3" fmla="*/ 356126 h 5959155"/>
              <a:gd name="connsiteX4" fmla="*/ 5158611 w 5158611"/>
              <a:gd name="connsiteY4" fmla="*/ 5618584 h 5959155"/>
              <a:gd name="connsiteX5" fmla="*/ 4818040 w 5158611"/>
              <a:gd name="connsiteY5" fmla="*/ 5959155 h 5959155"/>
              <a:gd name="connsiteX6" fmla="*/ 340571 w 5158611"/>
              <a:gd name="connsiteY6" fmla="*/ 5959155 h 5959155"/>
              <a:gd name="connsiteX7" fmla="*/ 0 w 5158611"/>
              <a:gd name="connsiteY7" fmla="*/ 5618584 h 5959155"/>
              <a:gd name="connsiteX8" fmla="*/ 0 w 5158611"/>
              <a:gd name="connsiteY8" fmla="*/ 356126 h 5959155"/>
              <a:gd name="connsiteX0" fmla="*/ 0 w 5158611"/>
              <a:gd name="connsiteY0" fmla="*/ 343773 h 5946802"/>
              <a:gd name="connsiteX1" fmla="*/ 340571 w 5158611"/>
              <a:gd name="connsiteY1" fmla="*/ 3202 h 5946802"/>
              <a:gd name="connsiteX2" fmla="*/ 5151743 w 5158611"/>
              <a:gd name="connsiteY2" fmla="*/ 61 h 5946802"/>
              <a:gd name="connsiteX3" fmla="*/ 5158611 w 5158611"/>
              <a:gd name="connsiteY3" fmla="*/ 343773 h 5946802"/>
              <a:gd name="connsiteX4" fmla="*/ 5158611 w 5158611"/>
              <a:gd name="connsiteY4" fmla="*/ 5606231 h 5946802"/>
              <a:gd name="connsiteX5" fmla="*/ 4818040 w 5158611"/>
              <a:gd name="connsiteY5" fmla="*/ 5946802 h 5946802"/>
              <a:gd name="connsiteX6" fmla="*/ 340571 w 5158611"/>
              <a:gd name="connsiteY6" fmla="*/ 5946802 h 5946802"/>
              <a:gd name="connsiteX7" fmla="*/ 0 w 5158611"/>
              <a:gd name="connsiteY7" fmla="*/ 5606231 h 5946802"/>
              <a:gd name="connsiteX8" fmla="*/ 0 w 5158611"/>
              <a:gd name="connsiteY8" fmla="*/ 343773 h 5946802"/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5155862 w 5158611"/>
              <a:gd name="connsiteY2" fmla="*/ 978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9981"/>
              <a:gd name="connsiteY0" fmla="*/ 340571 h 5943600"/>
              <a:gd name="connsiteX1" fmla="*/ 340571 w 5159981"/>
              <a:gd name="connsiteY1" fmla="*/ 0 h 5943600"/>
              <a:gd name="connsiteX2" fmla="*/ 5159981 w 5159981"/>
              <a:gd name="connsiteY2" fmla="*/ 978 h 5943600"/>
              <a:gd name="connsiteX3" fmla="*/ 5158611 w 5159981"/>
              <a:gd name="connsiteY3" fmla="*/ 340571 h 5943600"/>
              <a:gd name="connsiteX4" fmla="*/ 5158611 w 5159981"/>
              <a:gd name="connsiteY4" fmla="*/ 5603029 h 5943600"/>
              <a:gd name="connsiteX5" fmla="*/ 4818040 w 5159981"/>
              <a:gd name="connsiteY5" fmla="*/ 5943600 h 5943600"/>
              <a:gd name="connsiteX6" fmla="*/ 340571 w 5159981"/>
              <a:gd name="connsiteY6" fmla="*/ 5943600 h 5943600"/>
              <a:gd name="connsiteX7" fmla="*/ 0 w 5159981"/>
              <a:gd name="connsiteY7" fmla="*/ 5603029 h 5943600"/>
              <a:gd name="connsiteX8" fmla="*/ 0 w 5159981"/>
              <a:gd name="connsiteY8" fmla="*/ 340571 h 5943600"/>
              <a:gd name="connsiteX0" fmla="*/ 0 w 5529501"/>
              <a:gd name="connsiteY0" fmla="*/ 340571 h 5943600"/>
              <a:gd name="connsiteX1" fmla="*/ 340571 w 5529501"/>
              <a:gd name="connsiteY1" fmla="*/ 0 h 5943600"/>
              <a:gd name="connsiteX2" fmla="*/ 5159981 w 5529501"/>
              <a:gd name="connsiteY2" fmla="*/ 978 h 5943600"/>
              <a:gd name="connsiteX3" fmla="*/ 5158611 w 5529501"/>
              <a:gd name="connsiteY3" fmla="*/ 5603029 h 5943600"/>
              <a:gd name="connsiteX4" fmla="*/ 4818040 w 5529501"/>
              <a:gd name="connsiteY4" fmla="*/ 5943600 h 5943600"/>
              <a:gd name="connsiteX5" fmla="*/ 340571 w 5529501"/>
              <a:gd name="connsiteY5" fmla="*/ 5943600 h 5943600"/>
              <a:gd name="connsiteX6" fmla="*/ 0 w 5529501"/>
              <a:gd name="connsiteY6" fmla="*/ 5603029 h 5943600"/>
              <a:gd name="connsiteX7" fmla="*/ 0 w 5529501"/>
              <a:gd name="connsiteY7" fmla="*/ 340571 h 5943600"/>
              <a:gd name="connsiteX0" fmla="*/ 0 w 5719881"/>
              <a:gd name="connsiteY0" fmla="*/ 340571 h 5943600"/>
              <a:gd name="connsiteX1" fmla="*/ 340571 w 5719881"/>
              <a:gd name="connsiteY1" fmla="*/ 0 h 5943600"/>
              <a:gd name="connsiteX2" fmla="*/ 5159981 w 5719881"/>
              <a:gd name="connsiteY2" fmla="*/ 978 h 5943600"/>
              <a:gd name="connsiteX3" fmla="*/ 5158611 w 5719881"/>
              <a:gd name="connsiteY3" fmla="*/ 5603029 h 5943600"/>
              <a:gd name="connsiteX4" fmla="*/ 4818040 w 5719881"/>
              <a:gd name="connsiteY4" fmla="*/ 5943600 h 5943600"/>
              <a:gd name="connsiteX5" fmla="*/ 340571 w 5719881"/>
              <a:gd name="connsiteY5" fmla="*/ 5943600 h 5943600"/>
              <a:gd name="connsiteX6" fmla="*/ 0 w 5719881"/>
              <a:gd name="connsiteY6" fmla="*/ 5603029 h 5943600"/>
              <a:gd name="connsiteX7" fmla="*/ 0 w 5719881"/>
              <a:gd name="connsiteY7" fmla="*/ 340571 h 5943600"/>
              <a:gd name="connsiteX0" fmla="*/ 0 w 5184144"/>
              <a:gd name="connsiteY0" fmla="*/ 340571 h 5943600"/>
              <a:gd name="connsiteX1" fmla="*/ 340571 w 5184144"/>
              <a:gd name="connsiteY1" fmla="*/ 0 h 5943600"/>
              <a:gd name="connsiteX2" fmla="*/ 5159981 w 5184144"/>
              <a:gd name="connsiteY2" fmla="*/ 978 h 5943600"/>
              <a:gd name="connsiteX3" fmla="*/ 5158611 w 5184144"/>
              <a:gd name="connsiteY3" fmla="*/ 5603029 h 5943600"/>
              <a:gd name="connsiteX4" fmla="*/ 4818040 w 5184144"/>
              <a:gd name="connsiteY4" fmla="*/ 5943600 h 5943600"/>
              <a:gd name="connsiteX5" fmla="*/ 340571 w 5184144"/>
              <a:gd name="connsiteY5" fmla="*/ 5943600 h 5943600"/>
              <a:gd name="connsiteX6" fmla="*/ 0 w 5184144"/>
              <a:gd name="connsiteY6" fmla="*/ 5603029 h 5943600"/>
              <a:gd name="connsiteX7" fmla="*/ 0 w 5184144"/>
              <a:gd name="connsiteY7" fmla="*/ 340571 h 5943600"/>
              <a:gd name="connsiteX0" fmla="*/ 0 w 5194160"/>
              <a:gd name="connsiteY0" fmla="*/ 340571 h 5943600"/>
              <a:gd name="connsiteX1" fmla="*/ 340571 w 5194160"/>
              <a:gd name="connsiteY1" fmla="*/ 0 h 5943600"/>
              <a:gd name="connsiteX2" fmla="*/ 5187482 w 5194160"/>
              <a:gd name="connsiteY2" fmla="*/ 978 h 5943600"/>
              <a:gd name="connsiteX3" fmla="*/ 5158611 w 5194160"/>
              <a:gd name="connsiteY3" fmla="*/ 5603029 h 5943600"/>
              <a:gd name="connsiteX4" fmla="*/ 4818040 w 5194160"/>
              <a:gd name="connsiteY4" fmla="*/ 5943600 h 5943600"/>
              <a:gd name="connsiteX5" fmla="*/ 340571 w 5194160"/>
              <a:gd name="connsiteY5" fmla="*/ 5943600 h 5943600"/>
              <a:gd name="connsiteX6" fmla="*/ 0 w 5194160"/>
              <a:gd name="connsiteY6" fmla="*/ 5603029 h 5943600"/>
              <a:gd name="connsiteX7" fmla="*/ 0 w 5194160"/>
              <a:gd name="connsiteY7" fmla="*/ 340571 h 5943600"/>
              <a:gd name="connsiteX0" fmla="*/ 0 w 5911768"/>
              <a:gd name="connsiteY0" fmla="*/ 340571 h 5943600"/>
              <a:gd name="connsiteX1" fmla="*/ 340571 w 5911768"/>
              <a:gd name="connsiteY1" fmla="*/ 0 h 5943600"/>
              <a:gd name="connsiteX2" fmla="*/ 5187482 w 5911768"/>
              <a:gd name="connsiteY2" fmla="*/ 978 h 5943600"/>
              <a:gd name="connsiteX3" fmla="*/ 5158611 w 5911768"/>
              <a:gd name="connsiteY3" fmla="*/ 5603029 h 5943600"/>
              <a:gd name="connsiteX4" fmla="*/ 4818040 w 5911768"/>
              <a:gd name="connsiteY4" fmla="*/ 5943600 h 5943600"/>
              <a:gd name="connsiteX5" fmla="*/ 340571 w 5911768"/>
              <a:gd name="connsiteY5" fmla="*/ 5943600 h 5943600"/>
              <a:gd name="connsiteX6" fmla="*/ 0 w 5911768"/>
              <a:gd name="connsiteY6" fmla="*/ 5603029 h 5943600"/>
              <a:gd name="connsiteX7" fmla="*/ 0 w 5911768"/>
              <a:gd name="connsiteY7" fmla="*/ 340571 h 5943600"/>
              <a:gd name="connsiteX0" fmla="*/ 0 w 5193729"/>
              <a:gd name="connsiteY0" fmla="*/ 340571 h 5943600"/>
              <a:gd name="connsiteX1" fmla="*/ 340571 w 5193729"/>
              <a:gd name="connsiteY1" fmla="*/ 0 h 5943600"/>
              <a:gd name="connsiteX2" fmla="*/ 5187482 w 5193729"/>
              <a:gd name="connsiteY2" fmla="*/ 978 h 5943600"/>
              <a:gd name="connsiteX3" fmla="*/ 5158611 w 5193729"/>
              <a:gd name="connsiteY3" fmla="*/ 5603029 h 5943600"/>
              <a:gd name="connsiteX4" fmla="*/ 4818040 w 5193729"/>
              <a:gd name="connsiteY4" fmla="*/ 5943600 h 5943600"/>
              <a:gd name="connsiteX5" fmla="*/ 340571 w 5193729"/>
              <a:gd name="connsiteY5" fmla="*/ 5943600 h 5943600"/>
              <a:gd name="connsiteX6" fmla="*/ 0 w 5193729"/>
              <a:gd name="connsiteY6" fmla="*/ 5603029 h 5943600"/>
              <a:gd name="connsiteX7" fmla="*/ 0 w 5193729"/>
              <a:gd name="connsiteY7" fmla="*/ 340571 h 5943600"/>
              <a:gd name="connsiteX0" fmla="*/ 0 w 5191281"/>
              <a:gd name="connsiteY0" fmla="*/ 340571 h 5943600"/>
              <a:gd name="connsiteX1" fmla="*/ 340571 w 5191281"/>
              <a:gd name="connsiteY1" fmla="*/ 0 h 5943600"/>
              <a:gd name="connsiteX2" fmla="*/ 5187482 w 5191281"/>
              <a:gd name="connsiteY2" fmla="*/ 978 h 5943600"/>
              <a:gd name="connsiteX3" fmla="*/ 5158611 w 5191281"/>
              <a:gd name="connsiteY3" fmla="*/ 5603029 h 5943600"/>
              <a:gd name="connsiteX4" fmla="*/ 4818040 w 5191281"/>
              <a:gd name="connsiteY4" fmla="*/ 5943600 h 5943600"/>
              <a:gd name="connsiteX5" fmla="*/ 340571 w 5191281"/>
              <a:gd name="connsiteY5" fmla="*/ 5943600 h 5943600"/>
              <a:gd name="connsiteX6" fmla="*/ 0 w 5191281"/>
              <a:gd name="connsiteY6" fmla="*/ 5603029 h 5943600"/>
              <a:gd name="connsiteX7" fmla="*/ 0 w 5191281"/>
              <a:gd name="connsiteY7" fmla="*/ 340571 h 5943600"/>
              <a:gd name="connsiteX0" fmla="*/ 0 w 5197650"/>
              <a:gd name="connsiteY0" fmla="*/ 340571 h 5943600"/>
              <a:gd name="connsiteX1" fmla="*/ 340571 w 5197650"/>
              <a:gd name="connsiteY1" fmla="*/ 0 h 5943600"/>
              <a:gd name="connsiteX2" fmla="*/ 5187482 w 5197650"/>
              <a:gd name="connsiteY2" fmla="*/ 978 h 5943600"/>
              <a:gd name="connsiteX3" fmla="*/ 5158611 w 5197650"/>
              <a:gd name="connsiteY3" fmla="*/ 5603029 h 5943600"/>
              <a:gd name="connsiteX4" fmla="*/ 4818040 w 5197650"/>
              <a:gd name="connsiteY4" fmla="*/ 5943600 h 5943600"/>
              <a:gd name="connsiteX5" fmla="*/ 340571 w 5197650"/>
              <a:gd name="connsiteY5" fmla="*/ 5943600 h 5943600"/>
              <a:gd name="connsiteX6" fmla="*/ 0 w 5197650"/>
              <a:gd name="connsiteY6" fmla="*/ 5603029 h 5943600"/>
              <a:gd name="connsiteX7" fmla="*/ 0 w 5197650"/>
              <a:gd name="connsiteY7" fmla="*/ 340571 h 5943600"/>
              <a:gd name="connsiteX0" fmla="*/ 0 w 5187840"/>
              <a:gd name="connsiteY0" fmla="*/ 340571 h 5943600"/>
              <a:gd name="connsiteX1" fmla="*/ 340571 w 5187840"/>
              <a:gd name="connsiteY1" fmla="*/ 0 h 5943600"/>
              <a:gd name="connsiteX2" fmla="*/ 5187482 w 5187840"/>
              <a:gd name="connsiteY2" fmla="*/ 978 h 5943600"/>
              <a:gd name="connsiteX3" fmla="*/ 5158611 w 5187840"/>
              <a:gd name="connsiteY3" fmla="*/ 5603029 h 5943600"/>
              <a:gd name="connsiteX4" fmla="*/ 4818040 w 5187840"/>
              <a:gd name="connsiteY4" fmla="*/ 5943600 h 5943600"/>
              <a:gd name="connsiteX5" fmla="*/ 340571 w 5187840"/>
              <a:gd name="connsiteY5" fmla="*/ 5943600 h 5943600"/>
              <a:gd name="connsiteX6" fmla="*/ 0 w 5187840"/>
              <a:gd name="connsiteY6" fmla="*/ 5603029 h 5943600"/>
              <a:gd name="connsiteX7" fmla="*/ 0 w 5187840"/>
              <a:gd name="connsiteY7" fmla="*/ 340571 h 5943600"/>
              <a:gd name="connsiteX0" fmla="*/ 0 w 5178736"/>
              <a:gd name="connsiteY0" fmla="*/ 344211 h 5947240"/>
              <a:gd name="connsiteX1" fmla="*/ 340571 w 5178736"/>
              <a:gd name="connsiteY1" fmla="*/ 3640 h 5947240"/>
              <a:gd name="connsiteX2" fmla="*/ 5178246 w 5178736"/>
              <a:gd name="connsiteY2" fmla="*/ 0 h 5947240"/>
              <a:gd name="connsiteX3" fmla="*/ 5158611 w 5178736"/>
              <a:gd name="connsiteY3" fmla="*/ 5606669 h 5947240"/>
              <a:gd name="connsiteX4" fmla="*/ 4818040 w 5178736"/>
              <a:gd name="connsiteY4" fmla="*/ 5947240 h 5947240"/>
              <a:gd name="connsiteX5" fmla="*/ 340571 w 5178736"/>
              <a:gd name="connsiteY5" fmla="*/ 5947240 h 5947240"/>
              <a:gd name="connsiteX6" fmla="*/ 0 w 5178736"/>
              <a:gd name="connsiteY6" fmla="*/ 5606669 h 5947240"/>
              <a:gd name="connsiteX7" fmla="*/ 0 w 5178736"/>
              <a:gd name="connsiteY7" fmla="*/ 344211 h 5947240"/>
              <a:gd name="connsiteX0" fmla="*/ 0 w 5161607"/>
              <a:gd name="connsiteY0" fmla="*/ 344211 h 5947240"/>
              <a:gd name="connsiteX1" fmla="*/ 340571 w 5161607"/>
              <a:gd name="connsiteY1" fmla="*/ 3640 h 5947240"/>
              <a:gd name="connsiteX2" fmla="*/ 5159773 w 5161607"/>
              <a:gd name="connsiteY2" fmla="*/ 0 h 5947240"/>
              <a:gd name="connsiteX3" fmla="*/ 5158611 w 5161607"/>
              <a:gd name="connsiteY3" fmla="*/ 5606669 h 5947240"/>
              <a:gd name="connsiteX4" fmla="*/ 4818040 w 5161607"/>
              <a:gd name="connsiteY4" fmla="*/ 5947240 h 5947240"/>
              <a:gd name="connsiteX5" fmla="*/ 340571 w 5161607"/>
              <a:gd name="connsiteY5" fmla="*/ 5947240 h 5947240"/>
              <a:gd name="connsiteX6" fmla="*/ 0 w 5161607"/>
              <a:gd name="connsiteY6" fmla="*/ 5606669 h 5947240"/>
              <a:gd name="connsiteX7" fmla="*/ 0 w 5161607"/>
              <a:gd name="connsiteY7" fmla="*/ 344211 h 5947240"/>
              <a:gd name="connsiteX0" fmla="*/ 0 w 10733155"/>
              <a:gd name="connsiteY0" fmla="*/ 344211 h 5956667"/>
              <a:gd name="connsiteX1" fmla="*/ 340571 w 10733155"/>
              <a:gd name="connsiteY1" fmla="*/ 3640 h 5956667"/>
              <a:gd name="connsiteX2" fmla="*/ 5159773 w 10733155"/>
              <a:gd name="connsiteY2" fmla="*/ 0 h 5956667"/>
              <a:gd name="connsiteX3" fmla="*/ 5158611 w 10733155"/>
              <a:gd name="connsiteY3" fmla="*/ 5606669 h 5956667"/>
              <a:gd name="connsiteX4" fmla="*/ 10728646 w 10733155"/>
              <a:gd name="connsiteY4" fmla="*/ 5956667 h 5956667"/>
              <a:gd name="connsiteX5" fmla="*/ 340571 w 10733155"/>
              <a:gd name="connsiteY5" fmla="*/ 5947240 h 5956667"/>
              <a:gd name="connsiteX6" fmla="*/ 0 w 10733155"/>
              <a:gd name="connsiteY6" fmla="*/ 5606669 h 5956667"/>
              <a:gd name="connsiteX7" fmla="*/ 0 w 10733155"/>
              <a:gd name="connsiteY7" fmla="*/ 344211 h 5956667"/>
              <a:gd name="connsiteX0" fmla="*/ 0 w 11248326"/>
              <a:gd name="connsiteY0" fmla="*/ 344211 h 5956667"/>
              <a:gd name="connsiteX1" fmla="*/ 340571 w 11248326"/>
              <a:gd name="connsiteY1" fmla="*/ 3640 h 5956667"/>
              <a:gd name="connsiteX2" fmla="*/ 5159773 w 11248326"/>
              <a:gd name="connsiteY2" fmla="*/ 0 h 5956667"/>
              <a:gd name="connsiteX3" fmla="*/ 11248326 w 11248326"/>
              <a:gd name="connsiteY3" fmla="*/ 5616096 h 5956667"/>
              <a:gd name="connsiteX4" fmla="*/ 10728646 w 11248326"/>
              <a:gd name="connsiteY4" fmla="*/ 5956667 h 5956667"/>
              <a:gd name="connsiteX5" fmla="*/ 340571 w 11248326"/>
              <a:gd name="connsiteY5" fmla="*/ 5947240 h 5956667"/>
              <a:gd name="connsiteX6" fmla="*/ 0 w 11248326"/>
              <a:gd name="connsiteY6" fmla="*/ 5606669 h 5956667"/>
              <a:gd name="connsiteX7" fmla="*/ 0 w 11248326"/>
              <a:gd name="connsiteY7" fmla="*/ 344211 h 5956667"/>
              <a:gd name="connsiteX0" fmla="*/ 0 w 11248580"/>
              <a:gd name="connsiteY0" fmla="*/ 340571 h 5953027"/>
              <a:gd name="connsiteX1" fmla="*/ 340571 w 11248580"/>
              <a:gd name="connsiteY1" fmla="*/ 0 h 5953027"/>
              <a:gd name="connsiteX2" fmla="*/ 11240062 w 11248580"/>
              <a:gd name="connsiteY2" fmla="*/ 15214 h 5953027"/>
              <a:gd name="connsiteX3" fmla="*/ 11248326 w 11248580"/>
              <a:gd name="connsiteY3" fmla="*/ 5612456 h 5953027"/>
              <a:gd name="connsiteX4" fmla="*/ 10728646 w 11248580"/>
              <a:gd name="connsiteY4" fmla="*/ 5953027 h 5953027"/>
              <a:gd name="connsiteX5" fmla="*/ 340571 w 11248580"/>
              <a:gd name="connsiteY5" fmla="*/ 5943600 h 5953027"/>
              <a:gd name="connsiteX6" fmla="*/ 0 w 11248580"/>
              <a:gd name="connsiteY6" fmla="*/ 5603029 h 5953027"/>
              <a:gd name="connsiteX7" fmla="*/ 0 w 11248580"/>
              <a:gd name="connsiteY7" fmla="*/ 340571 h 5953027"/>
              <a:gd name="connsiteX0" fmla="*/ 0 w 11248331"/>
              <a:gd name="connsiteY0" fmla="*/ 340571 h 5953027"/>
              <a:gd name="connsiteX1" fmla="*/ 340571 w 11248331"/>
              <a:gd name="connsiteY1" fmla="*/ 0 h 5953027"/>
              <a:gd name="connsiteX2" fmla="*/ 10910123 w 11248331"/>
              <a:gd name="connsiteY2" fmla="*/ 580822 h 5953027"/>
              <a:gd name="connsiteX3" fmla="*/ 11248326 w 11248331"/>
              <a:gd name="connsiteY3" fmla="*/ 5612456 h 5953027"/>
              <a:gd name="connsiteX4" fmla="*/ 10728646 w 11248331"/>
              <a:gd name="connsiteY4" fmla="*/ 5953027 h 5953027"/>
              <a:gd name="connsiteX5" fmla="*/ 340571 w 11248331"/>
              <a:gd name="connsiteY5" fmla="*/ 5943600 h 5953027"/>
              <a:gd name="connsiteX6" fmla="*/ 0 w 11248331"/>
              <a:gd name="connsiteY6" fmla="*/ 5603029 h 5953027"/>
              <a:gd name="connsiteX7" fmla="*/ 0 w 11248331"/>
              <a:gd name="connsiteY7" fmla="*/ 340571 h 5953027"/>
              <a:gd name="connsiteX0" fmla="*/ 0 w 11248434"/>
              <a:gd name="connsiteY0" fmla="*/ 344211 h 5956667"/>
              <a:gd name="connsiteX1" fmla="*/ 340571 w 11248434"/>
              <a:gd name="connsiteY1" fmla="*/ 3640 h 5956667"/>
              <a:gd name="connsiteX2" fmla="*/ 11230634 w 11248434"/>
              <a:gd name="connsiteY2" fmla="*/ 0 h 5956667"/>
              <a:gd name="connsiteX3" fmla="*/ 11248326 w 11248434"/>
              <a:gd name="connsiteY3" fmla="*/ 5616096 h 5956667"/>
              <a:gd name="connsiteX4" fmla="*/ 10728646 w 11248434"/>
              <a:gd name="connsiteY4" fmla="*/ 5956667 h 5956667"/>
              <a:gd name="connsiteX5" fmla="*/ 340571 w 11248434"/>
              <a:gd name="connsiteY5" fmla="*/ 5947240 h 5956667"/>
              <a:gd name="connsiteX6" fmla="*/ 0 w 11248434"/>
              <a:gd name="connsiteY6" fmla="*/ 5606669 h 5956667"/>
              <a:gd name="connsiteX7" fmla="*/ 0 w 11248434"/>
              <a:gd name="connsiteY7" fmla="*/ 344211 h 5956667"/>
              <a:gd name="connsiteX0" fmla="*/ 0 w 11248434"/>
              <a:gd name="connsiteY0" fmla="*/ 344211 h 5947240"/>
              <a:gd name="connsiteX1" fmla="*/ 340571 w 11248434"/>
              <a:gd name="connsiteY1" fmla="*/ 3640 h 5947240"/>
              <a:gd name="connsiteX2" fmla="*/ 11230634 w 11248434"/>
              <a:gd name="connsiteY2" fmla="*/ 0 h 5947240"/>
              <a:gd name="connsiteX3" fmla="*/ 11248326 w 11248434"/>
              <a:gd name="connsiteY3" fmla="*/ 5616096 h 5947240"/>
              <a:gd name="connsiteX4" fmla="*/ 10912676 w 11248434"/>
              <a:gd name="connsiteY4" fmla="*/ 5945165 h 5947240"/>
              <a:gd name="connsiteX5" fmla="*/ 340571 w 11248434"/>
              <a:gd name="connsiteY5" fmla="*/ 5947240 h 5947240"/>
              <a:gd name="connsiteX6" fmla="*/ 0 w 11248434"/>
              <a:gd name="connsiteY6" fmla="*/ 5606669 h 5947240"/>
              <a:gd name="connsiteX7" fmla="*/ 0 w 11248434"/>
              <a:gd name="connsiteY7" fmla="*/ 344211 h 594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48434" h="5947240">
                <a:moveTo>
                  <a:pt x="0" y="344211"/>
                </a:moveTo>
                <a:cubicBezTo>
                  <a:pt x="0" y="156119"/>
                  <a:pt x="152479" y="3640"/>
                  <a:pt x="340571" y="3640"/>
                </a:cubicBezTo>
                <a:lnTo>
                  <a:pt x="11230634" y="0"/>
                </a:lnTo>
                <a:cubicBezTo>
                  <a:pt x="11234670" y="2407"/>
                  <a:pt x="11249863" y="4639513"/>
                  <a:pt x="11248326" y="5616096"/>
                </a:cubicBezTo>
                <a:cubicBezTo>
                  <a:pt x="11248326" y="5804188"/>
                  <a:pt x="11100768" y="5945165"/>
                  <a:pt x="10912676" y="5945165"/>
                </a:cubicBezTo>
                <a:lnTo>
                  <a:pt x="340571" y="5947240"/>
                </a:lnTo>
                <a:cubicBezTo>
                  <a:pt x="152479" y="5947240"/>
                  <a:pt x="0" y="5794761"/>
                  <a:pt x="0" y="5606669"/>
                </a:cubicBezTo>
                <a:lnTo>
                  <a:pt x="0" y="344211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l">
              <a:buFontTx/>
              <a:buNone/>
              <a:defRPr lang="en-US" sz="1800" dirty="0">
                <a:noFill/>
              </a:defRPr>
            </a:lvl1pPr>
          </a:lstStyle>
          <a:p>
            <a:pPr lvl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865BA6F-2010-6747-8D16-9D3D5F4071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3920" y="1234440"/>
            <a:ext cx="5486400" cy="2423160"/>
          </a:xfrm>
          <a:noFill/>
        </p:spPr>
        <p:txBody>
          <a:bodyPr lIns="137160" rIns="137160" anchor="b" anchorCtr="0"/>
          <a:lstStyle>
            <a:lvl1pPr algn="l">
              <a:lnSpc>
                <a:spcPct val="9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1136A946-2964-A141-8BAF-3CF18AE4F2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3920" y="3657600"/>
            <a:ext cx="5486400" cy="1874520"/>
          </a:xfrm>
          <a:prstGeom prst="rect">
            <a:avLst/>
          </a:prstGeom>
        </p:spPr>
        <p:txBody>
          <a:bodyPr lIns="137160" tIns="182880" rIns="137160" bIns="182880" anchor="t" anchorCtr="0"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A15F3D-AC04-B64A-B33D-4946D9634B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71860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 Square Left: Title and Sub w/ Bra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E067813-9DC8-BE45-A5CC-D2B27E417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25" y="2310673"/>
            <a:ext cx="4846955" cy="1314975"/>
          </a:xfrm>
        </p:spPr>
        <p:txBody>
          <a:bodyPr wrap="square" rIns="137160" anchor="b" anchorCtr="0">
            <a:spAutoFit/>
          </a:bodyPr>
          <a:lstStyle>
            <a:lvl1pPr algn="r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3A050F-49AA-7D4B-83EE-C84CE0A1135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BB94095-1D80-924F-BABC-3CF3E38EDF4D}"/>
              </a:ext>
            </a:extLst>
          </p:cNvPr>
          <p:cNvGrpSpPr/>
          <p:nvPr/>
        </p:nvGrpSpPr>
        <p:grpSpPr>
          <a:xfrm>
            <a:off x="9748689" y="465429"/>
            <a:ext cx="1968750" cy="960120"/>
            <a:chOff x="9748689" y="465429"/>
            <a:chExt cx="1968750" cy="96012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6F7AE0C7-D68C-D149-AA48-35700DF7FEFA}"/>
                </a:ext>
              </a:extLst>
            </p:cNvPr>
            <p:cNvCxnSpPr>
              <a:cxnSpLocks/>
            </p:cNvCxnSpPr>
            <p:nvPr/>
          </p:nvCxnSpPr>
          <p:spPr>
            <a:xfrm>
              <a:off x="9748689" y="550437"/>
              <a:ext cx="1968750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C22828B3-84DF-184D-9F6C-53816AD6D3ED}"/>
                </a:ext>
              </a:extLst>
            </p:cNvPr>
            <p:cNvCxnSpPr>
              <a:cxnSpLocks/>
            </p:cNvCxnSpPr>
            <p:nvPr/>
          </p:nvCxnSpPr>
          <p:spPr>
            <a:xfrm>
              <a:off x="11633001" y="465429"/>
              <a:ext cx="0" cy="96012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Subtitle 2">
            <a:extLst>
              <a:ext uri="{FF2B5EF4-FFF2-40B4-BE49-F238E27FC236}">
                <a16:creationId xmlns:a16="http://schemas.microsoft.com/office/drawing/2014/main" id="{6D31F9B5-2900-F247-A86E-28333F4134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1124" y="3644899"/>
            <a:ext cx="4846955" cy="1155701"/>
          </a:xfrm>
          <a:prstGeom prst="rect">
            <a:avLst/>
          </a:prstGeom>
        </p:spPr>
        <p:txBody>
          <a:bodyPr lIns="137160" tIns="182880" rIns="137160" bIns="182880" anchor="t" anchorCtr="0">
            <a:spAutoFit/>
          </a:bodyPr>
          <a:lstStyle>
            <a:lvl1pPr marL="0" indent="0" algn="r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2AC46A0D-AD84-9648-8345-B953D8E0AEC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5016" y="454025"/>
            <a:ext cx="5162079" cy="5942013"/>
          </a:xfrm>
          <a:custGeom>
            <a:avLst/>
            <a:gdLst>
              <a:gd name="connsiteX0" fmla="*/ 333574 w 5162079"/>
              <a:gd name="connsiteY0" fmla="*/ 0 h 5942013"/>
              <a:gd name="connsiteX1" fmla="*/ 3350953 w 5162079"/>
              <a:gd name="connsiteY1" fmla="*/ 0 h 5942013"/>
              <a:gd name="connsiteX2" fmla="*/ 4828505 w 5162079"/>
              <a:gd name="connsiteY2" fmla="*/ 0 h 5942013"/>
              <a:gd name="connsiteX3" fmla="*/ 5162079 w 5162079"/>
              <a:gd name="connsiteY3" fmla="*/ 0 h 5942013"/>
              <a:gd name="connsiteX4" fmla="*/ 5162079 w 5162079"/>
              <a:gd name="connsiteY4" fmla="*/ 333574 h 5942013"/>
              <a:gd name="connsiteX5" fmla="*/ 5162079 w 5162079"/>
              <a:gd name="connsiteY5" fmla="*/ 1146175 h 5942013"/>
              <a:gd name="connsiteX6" fmla="*/ 5162079 w 5162079"/>
              <a:gd name="connsiteY6" fmla="*/ 5608439 h 5942013"/>
              <a:gd name="connsiteX7" fmla="*/ 4828505 w 5162079"/>
              <a:gd name="connsiteY7" fmla="*/ 5942013 h 5942013"/>
              <a:gd name="connsiteX8" fmla="*/ 333574 w 5162079"/>
              <a:gd name="connsiteY8" fmla="*/ 5942013 h 5942013"/>
              <a:gd name="connsiteX9" fmla="*/ 0 w 5162079"/>
              <a:gd name="connsiteY9" fmla="*/ 5608439 h 5942013"/>
              <a:gd name="connsiteX10" fmla="*/ 0 w 5162079"/>
              <a:gd name="connsiteY10" fmla="*/ 333574 h 5942013"/>
              <a:gd name="connsiteX11" fmla="*/ 333574 w 5162079"/>
              <a:gd name="connsiteY11" fmla="*/ 0 h 5942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162079" h="5942013">
                <a:moveTo>
                  <a:pt x="333574" y="0"/>
                </a:moveTo>
                <a:lnTo>
                  <a:pt x="3350953" y="0"/>
                </a:lnTo>
                <a:lnTo>
                  <a:pt x="4828505" y="0"/>
                </a:lnTo>
                <a:lnTo>
                  <a:pt x="5162079" y="0"/>
                </a:lnTo>
                <a:lnTo>
                  <a:pt x="5162079" y="333574"/>
                </a:lnTo>
                <a:lnTo>
                  <a:pt x="5162079" y="1146175"/>
                </a:lnTo>
                <a:lnTo>
                  <a:pt x="5162079" y="5608439"/>
                </a:lnTo>
                <a:cubicBezTo>
                  <a:pt x="5162079" y="5792667"/>
                  <a:pt x="5012733" y="5942013"/>
                  <a:pt x="4828505" y="5942013"/>
                </a:cubicBezTo>
                <a:lnTo>
                  <a:pt x="333574" y="5942013"/>
                </a:lnTo>
                <a:cubicBezTo>
                  <a:pt x="149346" y="5942013"/>
                  <a:pt x="0" y="5792667"/>
                  <a:pt x="0" y="5608439"/>
                </a:cubicBezTo>
                <a:lnTo>
                  <a:pt x="0" y="333574"/>
                </a:lnTo>
                <a:cubicBezTo>
                  <a:pt x="0" y="149346"/>
                  <a:pt x="149346" y="0"/>
                  <a:pt x="333574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3282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38F840B2-DCF3-4349-96E4-077263A0F28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3076" y="1279319"/>
            <a:ext cx="8823324" cy="5120640"/>
          </a:xfrm>
        </p:spPr>
        <p:txBody>
          <a:bodyPr wrap="square" lIns="137160" anchor="ctr" anchorCtr="0"/>
          <a:lstStyle>
            <a:lvl1pPr algn="l">
              <a:defRPr sz="2000"/>
            </a:lvl1pPr>
            <a:lvl2pPr algn="l">
              <a:buClr>
                <a:schemeClr val="tx1"/>
              </a:buClr>
              <a:defRPr sz="1800"/>
            </a:lvl2pPr>
            <a:lvl3pPr algn="l">
              <a:buClr>
                <a:schemeClr val="tx1"/>
              </a:buClr>
              <a:defRPr sz="1800"/>
            </a:lvl3pPr>
            <a:lvl4pPr algn="l">
              <a:buClr>
                <a:schemeClr val="tx1"/>
              </a:buClr>
              <a:defRPr sz="1800"/>
            </a:lvl4pPr>
            <a:lvl5pPr algn="l">
              <a:buClr>
                <a:schemeClr val="tx1"/>
              </a:buCl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B615C9EC-86CF-FA4A-926E-E7D47D3BA8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65CD9-7A46-844A-913F-02E222B12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65927"/>
            <a:ext cx="8823325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A94D66E-8A3B-104D-AE0D-B923638D66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50" t="16711" b="12500"/>
          <a:stretch/>
        </p:blipFill>
        <p:spPr>
          <a:xfrm>
            <a:off x="10922000" y="0"/>
            <a:ext cx="118872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59604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239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1371600"/>
            <a:ext cx="11521757" cy="1828800"/>
          </a:xfrm>
        </p:spPr>
        <p:txBody>
          <a:bodyPr lIns="91440" rIns="91440" anchor="t" anchorCtr="0">
            <a:noAutofit/>
          </a:bodyPr>
          <a:lstStyle>
            <a:lvl1pPr algn="r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362A543-3733-441F-8567-155CE2234F4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396" r="34344" b="58268"/>
          <a:stretch/>
        </p:blipFill>
        <p:spPr>
          <a:xfrm flipH="1">
            <a:off x="0" y="3036696"/>
            <a:ext cx="7254240" cy="38213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65481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Text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988FE8-7BCE-4DCC-AD06-6E2476D85CA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73074" y="1293432"/>
            <a:ext cx="11245851" cy="1417320"/>
          </a:xfrm>
          <a:prstGeom prst="rect">
            <a:avLst/>
          </a:prstGeom>
        </p:spPr>
        <p:txBody>
          <a:bodyPr tIns="0" bIns="0"/>
          <a:lstStyle>
            <a:lvl1pPr marL="0" indent="0" algn="ctr">
              <a:buFont typeface="Arial" panose="020B0604020202020204" pitchFamily="34" charset="0"/>
              <a:buNone/>
              <a:defRPr sz="2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E9F538E8-723E-41BE-93B6-5B9E3CDA93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5C1E8D-83E2-FC4D-B314-9FA32D43FD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76281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Text Content 3 u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E9F538E8-723E-41BE-93B6-5B9E3CDA93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628E9C-9F91-0C4D-9FC8-C8EA50B0E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0F5285D-A081-294C-8B7C-643CD3093B9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94278" y="3310622"/>
            <a:ext cx="3361442" cy="3090178"/>
          </a:xfrm>
          <a:custGeom>
            <a:avLst/>
            <a:gdLst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2828643 w 3154363"/>
              <a:gd name="connsiteY2" fmla="*/ 0 h 3181618"/>
              <a:gd name="connsiteX3" fmla="*/ 3154363 w 3154363"/>
              <a:gd name="connsiteY3" fmla="*/ 325720 h 3181618"/>
              <a:gd name="connsiteX4" fmla="*/ 3154363 w 3154363"/>
              <a:gd name="connsiteY4" fmla="*/ 2855898 h 3181618"/>
              <a:gd name="connsiteX5" fmla="*/ 2828643 w 3154363"/>
              <a:gd name="connsiteY5" fmla="*/ 3181618 h 3181618"/>
              <a:gd name="connsiteX6" fmla="*/ 325720 w 3154363"/>
              <a:gd name="connsiteY6" fmla="*/ 3181618 h 3181618"/>
              <a:gd name="connsiteX7" fmla="*/ 0 w 3154363"/>
              <a:gd name="connsiteY7" fmla="*/ 2855898 h 3181618"/>
              <a:gd name="connsiteX8" fmla="*/ 0 w 3154363"/>
              <a:gd name="connsiteY8" fmla="*/ 325720 h 3181618"/>
              <a:gd name="connsiteX0" fmla="*/ 0 w 3175629"/>
              <a:gd name="connsiteY0" fmla="*/ 325720 h 3181618"/>
              <a:gd name="connsiteX1" fmla="*/ 325720 w 3175629"/>
              <a:gd name="connsiteY1" fmla="*/ 0 h 3181618"/>
              <a:gd name="connsiteX2" fmla="*/ 2828643 w 3175629"/>
              <a:gd name="connsiteY2" fmla="*/ 0 h 3181618"/>
              <a:gd name="connsiteX3" fmla="*/ 3154363 w 3175629"/>
              <a:gd name="connsiteY3" fmla="*/ 2855898 h 3181618"/>
              <a:gd name="connsiteX4" fmla="*/ 2828643 w 3175629"/>
              <a:gd name="connsiteY4" fmla="*/ 3181618 h 3181618"/>
              <a:gd name="connsiteX5" fmla="*/ 325720 w 3175629"/>
              <a:gd name="connsiteY5" fmla="*/ 3181618 h 3181618"/>
              <a:gd name="connsiteX6" fmla="*/ 0 w 3175629"/>
              <a:gd name="connsiteY6" fmla="*/ 2855898 h 3181618"/>
              <a:gd name="connsiteX7" fmla="*/ 0 w 3175629"/>
              <a:gd name="connsiteY7" fmla="*/ 325720 h 3181618"/>
              <a:gd name="connsiteX0" fmla="*/ 0 w 3296538"/>
              <a:gd name="connsiteY0" fmla="*/ 325720 h 3181618"/>
              <a:gd name="connsiteX1" fmla="*/ 325720 w 3296538"/>
              <a:gd name="connsiteY1" fmla="*/ 0 h 3181618"/>
              <a:gd name="connsiteX2" fmla="*/ 3059102 w 3296538"/>
              <a:gd name="connsiteY2" fmla="*/ 3717 h 3181618"/>
              <a:gd name="connsiteX3" fmla="*/ 3154363 w 3296538"/>
              <a:gd name="connsiteY3" fmla="*/ 2855898 h 3181618"/>
              <a:gd name="connsiteX4" fmla="*/ 2828643 w 3296538"/>
              <a:gd name="connsiteY4" fmla="*/ 3181618 h 3181618"/>
              <a:gd name="connsiteX5" fmla="*/ 325720 w 3296538"/>
              <a:gd name="connsiteY5" fmla="*/ 3181618 h 3181618"/>
              <a:gd name="connsiteX6" fmla="*/ 0 w 3296538"/>
              <a:gd name="connsiteY6" fmla="*/ 2855898 h 3181618"/>
              <a:gd name="connsiteX7" fmla="*/ 0 w 3296538"/>
              <a:gd name="connsiteY7" fmla="*/ 325720 h 3181618"/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3059102 w 3154363"/>
              <a:gd name="connsiteY2" fmla="*/ 3717 h 3181618"/>
              <a:gd name="connsiteX3" fmla="*/ 3154363 w 3154363"/>
              <a:gd name="connsiteY3" fmla="*/ 2855898 h 3181618"/>
              <a:gd name="connsiteX4" fmla="*/ 2828643 w 3154363"/>
              <a:gd name="connsiteY4" fmla="*/ 3181618 h 3181618"/>
              <a:gd name="connsiteX5" fmla="*/ 325720 w 3154363"/>
              <a:gd name="connsiteY5" fmla="*/ 3181618 h 3181618"/>
              <a:gd name="connsiteX6" fmla="*/ 0 w 3154363"/>
              <a:gd name="connsiteY6" fmla="*/ 2855898 h 3181618"/>
              <a:gd name="connsiteX7" fmla="*/ 0 w 3154363"/>
              <a:gd name="connsiteY7" fmla="*/ 325720 h 3181618"/>
              <a:gd name="connsiteX0" fmla="*/ 0 w 3163691"/>
              <a:gd name="connsiteY0" fmla="*/ 325720 h 3181618"/>
              <a:gd name="connsiteX1" fmla="*/ 325720 w 3163691"/>
              <a:gd name="connsiteY1" fmla="*/ 0 h 3181618"/>
              <a:gd name="connsiteX2" fmla="*/ 3163180 w 3163691"/>
              <a:gd name="connsiteY2" fmla="*/ 3717 h 3181618"/>
              <a:gd name="connsiteX3" fmla="*/ 3154363 w 3163691"/>
              <a:gd name="connsiteY3" fmla="*/ 2855898 h 3181618"/>
              <a:gd name="connsiteX4" fmla="*/ 2828643 w 3163691"/>
              <a:gd name="connsiteY4" fmla="*/ 3181618 h 3181618"/>
              <a:gd name="connsiteX5" fmla="*/ 325720 w 3163691"/>
              <a:gd name="connsiteY5" fmla="*/ 3181618 h 3181618"/>
              <a:gd name="connsiteX6" fmla="*/ 0 w 3163691"/>
              <a:gd name="connsiteY6" fmla="*/ 2855898 h 3181618"/>
              <a:gd name="connsiteX7" fmla="*/ 0 w 3163691"/>
              <a:gd name="connsiteY7" fmla="*/ 325720 h 3181618"/>
              <a:gd name="connsiteX0" fmla="*/ 0 w 3156832"/>
              <a:gd name="connsiteY0" fmla="*/ 325720 h 3181618"/>
              <a:gd name="connsiteX1" fmla="*/ 325720 w 3156832"/>
              <a:gd name="connsiteY1" fmla="*/ 0 h 3181618"/>
              <a:gd name="connsiteX2" fmla="*/ 3155745 w 3156832"/>
              <a:gd name="connsiteY2" fmla="*/ 3717 h 3181618"/>
              <a:gd name="connsiteX3" fmla="*/ 3154363 w 3156832"/>
              <a:gd name="connsiteY3" fmla="*/ 2855898 h 3181618"/>
              <a:gd name="connsiteX4" fmla="*/ 2828643 w 3156832"/>
              <a:gd name="connsiteY4" fmla="*/ 3181618 h 3181618"/>
              <a:gd name="connsiteX5" fmla="*/ 325720 w 3156832"/>
              <a:gd name="connsiteY5" fmla="*/ 3181618 h 3181618"/>
              <a:gd name="connsiteX6" fmla="*/ 0 w 3156832"/>
              <a:gd name="connsiteY6" fmla="*/ 2855898 h 3181618"/>
              <a:gd name="connsiteX7" fmla="*/ 0 w 3156832"/>
              <a:gd name="connsiteY7" fmla="*/ 325720 h 3181618"/>
              <a:gd name="connsiteX0" fmla="*/ 0 w 3162649"/>
              <a:gd name="connsiteY0" fmla="*/ 325720 h 3181618"/>
              <a:gd name="connsiteX1" fmla="*/ 325720 w 3162649"/>
              <a:gd name="connsiteY1" fmla="*/ 0 h 3181618"/>
              <a:gd name="connsiteX2" fmla="*/ 3162095 w 3162649"/>
              <a:gd name="connsiteY2" fmla="*/ 542 h 3181618"/>
              <a:gd name="connsiteX3" fmla="*/ 3154363 w 3162649"/>
              <a:gd name="connsiteY3" fmla="*/ 2855898 h 3181618"/>
              <a:gd name="connsiteX4" fmla="*/ 2828643 w 3162649"/>
              <a:gd name="connsiteY4" fmla="*/ 3181618 h 3181618"/>
              <a:gd name="connsiteX5" fmla="*/ 325720 w 3162649"/>
              <a:gd name="connsiteY5" fmla="*/ 3181618 h 3181618"/>
              <a:gd name="connsiteX6" fmla="*/ 0 w 3162649"/>
              <a:gd name="connsiteY6" fmla="*/ 2855898 h 3181618"/>
              <a:gd name="connsiteX7" fmla="*/ 0 w 3162649"/>
              <a:gd name="connsiteY7" fmla="*/ 325720 h 3181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2649" h="3181618">
                <a:moveTo>
                  <a:pt x="0" y="325720"/>
                </a:moveTo>
                <a:cubicBezTo>
                  <a:pt x="0" y="145830"/>
                  <a:pt x="145830" y="0"/>
                  <a:pt x="325720" y="0"/>
                </a:cubicBezTo>
                <a:lnTo>
                  <a:pt x="3162095" y="542"/>
                </a:lnTo>
                <a:cubicBezTo>
                  <a:pt x="3165184" y="8174"/>
                  <a:pt x="3154363" y="2325628"/>
                  <a:pt x="3154363" y="2855898"/>
                </a:cubicBezTo>
                <a:cubicBezTo>
                  <a:pt x="3154363" y="3035788"/>
                  <a:pt x="3008533" y="3181618"/>
                  <a:pt x="2828643" y="3181618"/>
                </a:cubicBezTo>
                <a:lnTo>
                  <a:pt x="325720" y="3181618"/>
                </a:lnTo>
                <a:cubicBezTo>
                  <a:pt x="145830" y="3181618"/>
                  <a:pt x="0" y="3035788"/>
                  <a:pt x="0" y="2855898"/>
                </a:cubicBezTo>
                <a:lnTo>
                  <a:pt x="0" y="325720"/>
                </a:lnTo>
                <a:close/>
              </a:path>
            </a:pathLst>
          </a:custGeom>
          <a:solidFill>
            <a:schemeClr val="accent1"/>
          </a:solidFill>
        </p:spPr>
        <p:txBody>
          <a:bodyPr lIns="274320" tIns="274320" rIns="274320" bIns="0" anchor="t" anchorCtr="0"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7CC393D8-78DF-5044-87CC-19BEA3050471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415279" y="3310622"/>
            <a:ext cx="3361442" cy="3090178"/>
          </a:xfrm>
          <a:custGeom>
            <a:avLst/>
            <a:gdLst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2828643 w 3154363"/>
              <a:gd name="connsiteY2" fmla="*/ 0 h 3181618"/>
              <a:gd name="connsiteX3" fmla="*/ 3154363 w 3154363"/>
              <a:gd name="connsiteY3" fmla="*/ 325720 h 3181618"/>
              <a:gd name="connsiteX4" fmla="*/ 3154363 w 3154363"/>
              <a:gd name="connsiteY4" fmla="*/ 2855898 h 3181618"/>
              <a:gd name="connsiteX5" fmla="*/ 2828643 w 3154363"/>
              <a:gd name="connsiteY5" fmla="*/ 3181618 h 3181618"/>
              <a:gd name="connsiteX6" fmla="*/ 325720 w 3154363"/>
              <a:gd name="connsiteY6" fmla="*/ 3181618 h 3181618"/>
              <a:gd name="connsiteX7" fmla="*/ 0 w 3154363"/>
              <a:gd name="connsiteY7" fmla="*/ 2855898 h 3181618"/>
              <a:gd name="connsiteX8" fmla="*/ 0 w 3154363"/>
              <a:gd name="connsiteY8" fmla="*/ 325720 h 3181618"/>
              <a:gd name="connsiteX0" fmla="*/ 0 w 3175629"/>
              <a:gd name="connsiteY0" fmla="*/ 325720 h 3181618"/>
              <a:gd name="connsiteX1" fmla="*/ 325720 w 3175629"/>
              <a:gd name="connsiteY1" fmla="*/ 0 h 3181618"/>
              <a:gd name="connsiteX2" fmla="*/ 2828643 w 3175629"/>
              <a:gd name="connsiteY2" fmla="*/ 0 h 3181618"/>
              <a:gd name="connsiteX3" fmla="*/ 3154363 w 3175629"/>
              <a:gd name="connsiteY3" fmla="*/ 2855898 h 3181618"/>
              <a:gd name="connsiteX4" fmla="*/ 2828643 w 3175629"/>
              <a:gd name="connsiteY4" fmla="*/ 3181618 h 3181618"/>
              <a:gd name="connsiteX5" fmla="*/ 325720 w 3175629"/>
              <a:gd name="connsiteY5" fmla="*/ 3181618 h 3181618"/>
              <a:gd name="connsiteX6" fmla="*/ 0 w 3175629"/>
              <a:gd name="connsiteY6" fmla="*/ 2855898 h 3181618"/>
              <a:gd name="connsiteX7" fmla="*/ 0 w 3175629"/>
              <a:gd name="connsiteY7" fmla="*/ 325720 h 3181618"/>
              <a:gd name="connsiteX0" fmla="*/ 0 w 3296538"/>
              <a:gd name="connsiteY0" fmla="*/ 325720 h 3181618"/>
              <a:gd name="connsiteX1" fmla="*/ 325720 w 3296538"/>
              <a:gd name="connsiteY1" fmla="*/ 0 h 3181618"/>
              <a:gd name="connsiteX2" fmla="*/ 3059102 w 3296538"/>
              <a:gd name="connsiteY2" fmla="*/ 3717 h 3181618"/>
              <a:gd name="connsiteX3" fmla="*/ 3154363 w 3296538"/>
              <a:gd name="connsiteY3" fmla="*/ 2855898 h 3181618"/>
              <a:gd name="connsiteX4" fmla="*/ 2828643 w 3296538"/>
              <a:gd name="connsiteY4" fmla="*/ 3181618 h 3181618"/>
              <a:gd name="connsiteX5" fmla="*/ 325720 w 3296538"/>
              <a:gd name="connsiteY5" fmla="*/ 3181618 h 3181618"/>
              <a:gd name="connsiteX6" fmla="*/ 0 w 3296538"/>
              <a:gd name="connsiteY6" fmla="*/ 2855898 h 3181618"/>
              <a:gd name="connsiteX7" fmla="*/ 0 w 3296538"/>
              <a:gd name="connsiteY7" fmla="*/ 325720 h 3181618"/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3059102 w 3154363"/>
              <a:gd name="connsiteY2" fmla="*/ 3717 h 3181618"/>
              <a:gd name="connsiteX3" fmla="*/ 3154363 w 3154363"/>
              <a:gd name="connsiteY3" fmla="*/ 2855898 h 3181618"/>
              <a:gd name="connsiteX4" fmla="*/ 2828643 w 3154363"/>
              <a:gd name="connsiteY4" fmla="*/ 3181618 h 3181618"/>
              <a:gd name="connsiteX5" fmla="*/ 325720 w 3154363"/>
              <a:gd name="connsiteY5" fmla="*/ 3181618 h 3181618"/>
              <a:gd name="connsiteX6" fmla="*/ 0 w 3154363"/>
              <a:gd name="connsiteY6" fmla="*/ 2855898 h 3181618"/>
              <a:gd name="connsiteX7" fmla="*/ 0 w 3154363"/>
              <a:gd name="connsiteY7" fmla="*/ 325720 h 3181618"/>
              <a:gd name="connsiteX0" fmla="*/ 0 w 3163691"/>
              <a:gd name="connsiteY0" fmla="*/ 325720 h 3181618"/>
              <a:gd name="connsiteX1" fmla="*/ 325720 w 3163691"/>
              <a:gd name="connsiteY1" fmla="*/ 0 h 3181618"/>
              <a:gd name="connsiteX2" fmla="*/ 3163180 w 3163691"/>
              <a:gd name="connsiteY2" fmla="*/ 3717 h 3181618"/>
              <a:gd name="connsiteX3" fmla="*/ 3154363 w 3163691"/>
              <a:gd name="connsiteY3" fmla="*/ 2855898 h 3181618"/>
              <a:gd name="connsiteX4" fmla="*/ 2828643 w 3163691"/>
              <a:gd name="connsiteY4" fmla="*/ 3181618 h 3181618"/>
              <a:gd name="connsiteX5" fmla="*/ 325720 w 3163691"/>
              <a:gd name="connsiteY5" fmla="*/ 3181618 h 3181618"/>
              <a:gd name="connsiteX6" fmla="*/ 0 w 3163691"/>
              <a:gd name="connsiteY6" fmla="*/ 2855898 h 3181618"/>
              <a:gd name="connsiteX7" fmla="*/ 0 w 3163691"/>
              <a:gd name="connsiteY7" fmla="*/ 325720 h 3181618"/>
              <a:gd name="connsiteX0" fmla="*/ 0 w 3156832"/>
              <a:gd name="connsiteY0" fmla="*/ 325720 h 3181618"/>
              <a:gd name="connsiteX1" fmla="*/ 325720 w 3156832"/>
              <a:gd name="connsiteY1" fmla="*/ 0 h 3181618"/>
              <a:gd name="connsiteX2" fmla="*/ 3155745 w 3156832"/>
              <a:gd name="connsiteY2" fmla="*/ 3717 h 3181618"/>
              <a:gd name="connsiteX3" fmla="*/ 3154363 w 3156832"/>
              <a:gd name="connsiteY3" fmla="*/ 2855898 h 3181618"/>
              <a:gd name="connsiteX4" fmla="*/ 2828643 w 3156832"/>
              <a:gd name="connsiteY4" fmla="*/ 3181618 h 3181618"/>
              <a:gd name="connsiteX5" fmla="*/ 325720 w 3156832"/>
              <a:gd name="connsiteY5" fmla="*/ 3181618 h 3181618"/>
              <a:gd name="connsiteX6" fmla="*/ 0 w 3156832"/>
              <a:gd name="connsiteY6" fmla="*/ 2855898 h 3181618"/>
              <a:gd name="connsiteX7" fmla="*/ 0 w 3156832"/>
              <a:gd name="connsiteY7" fmla="*/ 325720 h 3181618"/>
              <a:gd name="connsiteX0" fmla="*/ 0 w 3162649"/>
              <a:gd name="connsiteY0" fmla="*/ 325720 h 3181618"/>
              <a:gd name="connsiteX1" fmla="*/ 325720 w 3162649"/>
              <a:gd name="connsiteY1" fmla="*/ 0 h 3181618"/>
              <a:gd name="connsiteX2" fmla="*/ 3162095 w 3162649"/>
              <a:gd name="connsiteY2" fmla="*/ 542 h 3181618"/>
              <a:gd name="connsiteX3" fmla="*/ 3154363 w 3162649"/>
              <a:gd name="connsiteY3" fmla="*/ 2855898 h 3181618"/>
              <a:gd name="connsiteX4" fmla="*/ 2828643 w 3162649"/>
              <a:gd name="connsiteY4" fmla="*/ 3181618 h 3181618"/>
              <a:gd name="connsiteX5" fmla="*/ 325720 w 3162649"/>
              <a:gd name="connsiteY5" fmla="*/ 3181618 h 3181618"/>
              <a:gd name="connsiteX6" fmla="*/ 0 w 3162649"/>
              <a:gd name="connsiteY6" fmla="*/ 2855898 h 3181618"/>
              <a:gd name="connsiteX7" fmla="*/ 0 w 3162649"/>
              <a:gd name="connsiteY7" fmla="*/ 325720 h 3181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2649" h="3181618">
                <a:moveTo>
                  <a:pt x="0" y="325720"/>
                </a:moveTo>
                <a:cubicBezTo>
                  <a:pt x="0" y="145830"/>
                  <a:pt x="145830" y="0"/>
                  <a:pt x="325720" y="0"/>
                </a:cubicBezTo>
                <a:lnTo>
                  <a:pt x="3162095" y="542"/>
                </a:lnTo>
                <a:cubicBezTo>
                  <a:pt x="3165184" y="8174"/>
                  <a:pt x="3154363" y="2325628"/>
                  <a:pt x="3154363" y="2855898"/>
                </a:cubicBezTo>
                <a:cubicBezTo>
                  <a:pt x="3154363" y="3035788"/>
                  <a:pt x="3008533" y="3181618"/>
                  <a:pt x="2828643" y="3181618"/>
                </a:cubicBezTo>
                <a:lnTo>
                  <a:pt x="325720" y="3181618"/>
                </a:lnTo>
                <a:cubicBezTo>
                  <a:pt x="145830" y="3181618"/>
                  <a:pt x="0" y="3035788"/>
                  <a:pt x="0" y="2855898"/>
                </a:cubicBezTo>
                <a:lnTo>
                  <a:pt x="0" y="32572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</p:spPr>
        <p:txBody>
          <a:bodyPr lIns="274320" tIns="274320" rIns="274320" bIns="0" anchor="t" anchorCtr="0"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E645C898-6153-3F41-8C11-0E3A3CE637B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361114" y="3310622"/>
            <a:ext cx="3361442" cy="3090178"/>
          </a:xfrm>
          <a:custGeom>
            <a:avLst/>
            <a:gdLst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2828643 w 3154363"/>
              <a:gd name="connsiteY2" fmla="*/ 0 h 3181618"/>
              <a:gd name="connsiteX3" fmla="*/ 3154363 w 3154363"/>
              <a:gd name="connsiteY3" fmla="*/ 325720 h 3181618"/>
              <a:gd name="connsiteX4" fmla="*/ 3154363 w 3154363"/>
              <a:gd name="connsiteY4" fmla="*/ 2855898 h 3181618"/>
              <a:gd name="connsiteX5" fmla="*/ 2828643 w 3154363"/>
              <a:gd name="connsiteY5" fmla="*/ 3181618 h 3181618"/>
              <a:gd name="connsiteX6" fmla="*/ 325720 w 3154363"/>
              <a:gd name="connsiteY6" fmla="*/ 3181618 h 3181618"/>
              <a:gd name="connsiteX7" fmla="*/ 0 w 3154363"/>
              <a:gd name="connsiteY7" fmla="*/ 2855898 h 3181618"/>
              <a:gd name="connsiteX8" fmla="*/ 0 w 3154363"/>
              <a:gd name="connsiteY8" fmla="*/ 325720 h 3181618"/>
              <a:gd name="connsiteX0" fmla="*/ 0 w 3175629"/>
              <a:gd name="connsiteY0" fmla="*/ 325720 h 3181618"/>
              <a:gd name="connsiteX1" fmla="*/ 325720 w 3175629"/>
              <a:gd name="connsiteY1" fmla="*/ 0 h 3181618"/>
              <a:gd name="connsiteX2" fmla="*/ 2828643 w 3175629"/>
              <a:gd name="connsiteY2" fmla="*/ 0 h 3181618"/>
              <a:gd name="connsiteX3" fmla="*/ 3154363 w 3175629"/>
              <a:gd name="connsiteY3" fmla="*/ 2855898 h 3181618"/>
              <a:gd name="connsiteX4" fmla="*/ 2828643 w 3175629"/>
              <a:gd name="connsiteY4" fmla="*/ 3181618 h 3181618"/>
              <a:gd name="connsiteX5" fmla="*/ 325720 w 3175629"/>
              <a:gd name="connsiteY5" fmla="*/ 3181618 h 3181618"/>
              <a:gd name="connsiteX6" fmla="*/ 0 w 3175629"/>
              <a:gd name="connsiteY6" fmla="*/ 2855898 h 3181618"/>
              <a:gd name="connsiteX7" fmla="*/ 0 w 3175629"/>
              <a:gd name="connsiteY7" fmla="*/ 325720 h 3181618"/>
              <a:gd name="connsiteX0" fmla="*/ 0 w 3296538"/>
              <a:gd name="connsiteY0" fmla="*/ 325720 h 3181618"/>
              <a:gd name="connsiteX1" fmla="*/ 325720 w 3296538"/>
              <a:gd name="connsiteY1" fmla="*/ 0 h 3181618"/>
              <a:gd name="connsiteX2" fmla="*/ 3059102 w 3296538"/>
              <a:gd name="connsiteY2" fmla="*/ 3717 h 3181618"/>
              <a:gd name="connsiteX3" fmla="*/ 3154363 w 3296538"/>
              <a:gd name="connsiteY3" fmla="*/ 2855898 h 3181618"/>
              <a:gd name="connsiteX4" fmla="*/ 2828643 w 3296538"/>
              <a:gd name="connsiteY4" fmla="*/ 3181618 h 3181618"/>
              <a:gd name="connsiteX5" fmla="*/ 325720 w 3296538"/>
              <a:gd name="connsiteY5" fmla="*/ 3181618 h 3181618"/>
              <a:gd name="connsiteX6" fmla="*/ 0 w 3296538"/>
              <a:gd name="connsiteY6" fmla="*/ 2855898 h 3181618"/>
              <a:gd name="connsiteX7" fmla="*/ 0 w 3296538"/>
              <a:gd name="connsiteY7" fmla="*/ 325720 h 3181618"/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3059102 w 3154363"/>
              <a:gd name="connsiteY2" fmla="*/ 3717 h 3181618"/>
              <a:gd name="connsiteX3" fmla="*/ 3154363 w 3154363"/>
              <a:gd name="connsiteY3" fmla="*/ 2855898 h 3181618"/>
              <a:gd name="connsiteX4" fmla="*/ 2828643 w 3154363"/>
              <a:gd name="connsiteY4" fmla="*/ 3181618 h 3181618"/>
              <a:gd name="connsiteX5" fmla="*/ 325720 w 3154363"/>
              <a:gd name="connsiteY5" fmla="*/ 3181618 h 3181618"/>
              <a:gd name="connsiteX6" fmla="*/ 0 w 3154363"/>
              <a:gd name="connsiteY6" fmla="*/ 2855898 h 3181618"/>
              <a:gd name="connsiteX7" fmla="*/ 0 w 3154363"/>
              <a:gd name="connsiteY7" fmla="*/ 325720 h 3181618"/>
              <a:gd name="connsiteX0" fmla="*/ 0 w 3163691"/>
              <a:gd name="connsiteY0" fmla="*/ 325720 h 3181618"/>
              <a:gd name="connsiteX1" fmla="*/ 325720 w 3163691"/>
              <a:gd name="connsiteY1" fmla="*/ 0 h 3181618"/>
              <a:gd name="connsiteX2" fmla="*/ 3163180 w 3163691"/>
              <a:gd name="connsiteY2" fmla="*/ 3717 h 3181618"/>
              <a:gd name="connsiteX3" fmla="*/ 3154363 w 3163691"/>
              <a:gd name="connsiteY3" fmla="*/ 2855898 h 3181618"/>
              <a:gd name="connsiteX4" fmla="*/ 2828643 w 3163691"/>
              <a:gd name="connsiteY4" fmla="*/ 3181618 h 3181618"/>
              <a:gd name="connsiteX5" fmla="*/ 325720 w 3163691"/>
              <a:gd name="connsiteY5" fmla="*/ 3181618 h 3181618"/>
              <a:gd name="connsiteX6" fmla="*/ 0 w 3163691"/>
              <a:gd name="connsiteY6" fmla="*/ 2855898 h 3181618"/>
              <a:gd name="connsiteX7" fmla="*/ 0 w 3163691"/>
              <a:gd name="connsiteY7" fmla="*/ 325720 h 3181618"/>
              <a:gd name="connsiteX0" fmla="*/ 0 w 3156832"/>
              <a:gd name="connsiteY0" fmla="*/ 325720 h 3181618"/>
              <a:gd name="connsiteX1" fmla="*/ 325720 w 3156832"/>
              <a:gd name="connsiteY1" fmla="*/ 0 h 3181618"/>
              <a:gd name="connsiteX2" fmla="*/ 3155745 w 3156832"/>
              <a:gd name="connsiteY2" fmla="*/ 3717 h 3181618"/>
              <a:gd name="connsiteX3" fmla="*/ 3154363 w 3156832"/>
              <a:gd name="connsiteY3" fmla="*/ 2855898 h 3181618"/>
              <a:gd name="connsiteX4" fmla="*/ 2828643 w 3156832"/>
              <a:gd name="connsiteY4" fmla="*/ 3181618 h 3181618"/>
              <a:gd name="connsiteX5" fmla="*/ 325720 w 3156832"/>
              <a:gd name="connsiteY5" fmla="*/ 3181618 h 3181618"/>
              <a:gd name="connsiteX6" fmla="*/ 0 w 3156832"/>
              <a:gd name="connsiteY6" fmla="*/ 2855898 h 3181618"/>
              <a:gd name="connsiteX7" fmla="*/ 0 w 3156832"/>
              <a:gd name="connsiteY7" fmla="*/ 325720 h 3181618"/>
              <a:gd name="connsiteX0" fmla="*/ 0 w 3162649"/>
              <a:gd name="connsiteY0" fmla="*/ 325720 h 3181618"/>
              <a:gd name="connsiteX1" fmla="*/ 325720 w 3162649"/>
              <a:gd name="connsiteY1" fmla="*/ 0 h 3181618"/>
              <a:gd name="connsiteX2" fmla="*/ 3162095 w 3162649"/>
              <a:gd name="connsiteY2" fmla="*/ 542 h 3181618"/>
              <a:gd name="connsiteX3" fmla="*/ 3154363 w 3162649"/>
              <a:gd name="connsiteY3" fmla="*/ 2855898 h 3181618"/>
              <a:gd name="connsiteX4" fmla="*/ 2828643 w 3162649"/>
              <a:gd name="connsiteY4" fmla="*/ 3181618 h 3181618"/>
              <a:gd name="connsiteX5" fmla="*/ 325720 w 3162649"/>
              <a:gd name="connsiteY5" fmla="*/ 3181618 h 3181618"/>
              <a:gd name="connsiteX6" fmla="*/ 0 w 3162649"/>
              <a:gd name="connsiteY6" fmla="*/ 2855898 h 3181618"/>
              <a:gd name="connsiteX7" fmla="*/ 0 w 3162649"/>
              <a:gd name="connsiteY7" fmla="*/ 325720 h 3181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2649" h="3181618">
                <a:moveTo>
                  <a:pt x="0" y="325720"/>
                </a:moveTo>
                <a:cubicBezTo>
                  <a:pt x="0" y="145830"/>
                  <a:pt x="145830" y="0"/>
                  <a:pt x="325720" y="0"/>
                </a:cubicBezTo>
                <a:lnTo>
                  <a:pt x="3162095" y="542"/>
                </a:lnTo>
                <a:cubicBezTo>
                  <a:pt x="3165184" y="8174"/>
                  <a:pt x="3154363" y="2325628"/>
                  <a:pt x="3154363" y="2855898"/>
                </a:cubicBezTo>
                <a:cubicBezTo>
                  <a:pt x="3154363" y="3035788"/>
                  <a:pt x="3008533" y="3181618"/>
                  <a:pt x="2828643" y="3181618"/>
                </a:cubicBezTo>
                <a:lnTo>
                  <a:pt x="325720" y="3181618"/>
                </a:lnTo>
                <a:cubicBezTo>
                  <a:pt x="145830" y="3181618"/>
                  <a:pt x="0" y="3035788"/>
                  <a:pt x="0" y="2855898"/>
                </a:cubicBezTo>
                <a:lnTo>
                  <a:pt x="0" y="325720"/>
                </a:lnTo>
                <a:close/>
              </a:path>
            </a:pathLst>
          </a:custGeom>
          <a:solidFill>
            <a:schemeClr val="accent1"/>
          </a:solidFill>
        </p:spPr>
        <p:txBody>
          <a:bodyPr lIns="274320" tIns="274320" rIns="274320" bIns="0" anchor="t" anchorCtr="0"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F3A12ABD-352C-1741-AEBB-E5208C6B1D0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5488" y="1280160"/>
            <a:ext cx="11243437" cy="1600517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5681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ow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5D10027-2962-9643-875E-88568B11FDB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638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ow &amp; Bra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-105323" y="-137607"/>
            <a:ext cx="369397" cy="433965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peedee" panose="020B0603030502020204" pitchFamily="34" charset="0"/>
              <a:ea typeface="+mn-ea"/>
              <a:cs typeface="+mn-cs"/>
              <a:sym typeface="Speedee" panose="020B06030305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1C002342-B149-7340-8269-90AC2877B3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54" y="468283"/>
            <a:ext cx="5165725" cy="261520"/>
          </a:xfr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igital – April Governance Committe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705B47E-CF47-E644-B84E-AE3C119DB3B2}"/>
              </a:ext>
            </a:extLst>
          </p:cNvPr>
          <p:cNvGrpSpPr/>
          <p:nvPr/>
        </p:nvGrpSpPr>
        <p:grpSpPr>
          <a:xfrm>
            <a:off x="9748689" y="468283"/>
            <a:ext cx="1968750" cy="960120"/>
            <a:chOff x="9748689" y="468283"/>
            <a:chExt cx="1968750" cy="960120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F7CA070-0CE3-D146-884B-3823599CC7C2}"/>
                </a:ext>
              </a:extLst>
            </p:cNvPr>
            <p:cNvCxnSpPr>
              <a:cxnSpLocks/>
            </p:cNvCxnSpPr>
            <p:nvPr/>
          </p:nvCxnSpPr>
          <p:spPr>
            <a:xfrm>
              <a:off x="9748689" y="550437"/>
              <a:ext cx="1968750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370008D5-EB83-7843-83DF-063E050C916F}"/>
                </a:ext>
              </a:extLst>
            </p:cNvPr>
            <p:cNvCxnSpPr>
              <a:cxnSpLocks/>
            </p:cNvCxnSpPr>
            <p:nvPr/>
          </p:nvCxnSpPr>
          <p:spPr>
            <a:xfrm>
              <a:off x="11633001" y="468283"/>
              <a:ext cx="0" cy="96012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6E797CF-1492-8342-8139-2F8A86F55D1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32108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w/ 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A7AE24-3326-1146-8D5D-E89A268DDB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40662BF3-B2FA-CB48-B280-AD90B7548509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473076" y="1188720"/>
            <a:ext cx="11245850" cy="3520440"/>
          </a:xfrm>
          <a:prstGeom prst="rect">
            <a:avLst/>
          </a:prstGeom>
        </p:spPr>
        <p:txBody>
          <a:bodyPr lIns="137160" tIns="0" rIns="91440" bIns="0" numCol="2" spcCol="457200" anchor="t" anchorCtr="0"/>
          <a:lstStyle>
            <a:lvl1pPr marL="0" marR="0" indent="0" algn="l" defTabSz="54864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342900" indent="-342900" defTabSz="548640">
              <a:buFont typeface="Arial" panose="020B0604020202020204" pitchFamily="34" charset="0"/>
              <a:buChar char="•"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uismo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tincidun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u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laoreet</a:t>
            </a:r>
            <a:r>
              <a:rPr lang="en-US" sz="2000" b="0" i="0" dirty="0">
                <a:latin typeface="Speedee" panose="020B0603030502020204" pitchFamily="34" charset="0"/>
              </a:rPr>
              <a:t> dolore.</a:t>
            </a:r>
          </a:p>
          <a:p>
            <a:pPr marL="342900" indent="-342900" defTabSz="548640">
              <a:buFont typeface="Arial" panose="020B0604020202020204" pitchFamily="34" charset="0"/>
              <a:buChar char="•"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.</a:t>
            </a:r>
          </a:p>
          <a:p>
            <a:pPr marL="342900" marR="0" lvl="0" indent="-342900" algn="l" defTabSz="54864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uismo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tincidun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u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laoreet</a:t>
            </a:r>
            <a:r>
              <a:rPr lang="en-US" sz="2000" b="0" i="0" dirty="0">
                <a:latin typeface="Speedee" panose="020B0603030502020204" pitchFamily="34" charset="0"/>
              </a:rPr>
              <a:t> dolore.</a:t>
            </a:r>
          </a:p>
          <a:p>
            <a:pPr marL="342900" marR="0" lvl="0" indent="-342900" algn="l" defTabSz="54864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b="0" i="0" dirty="0">
              <a:latin typeface="Speedee" panose="020B0603030502020204" pitchFamily="34" charset="0"/>
            </a:endParaRPr>
          </a:p>
          <a:p>
            <a:pPr marL="342900" indent="-342900" defTabSz="548640">
              <a:buFont typeface="Arial" panose="020B0604020202020204" pitchFamily="34" charset="0"/>
              <a:buChar char="•"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uismo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tincidun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u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laoreet</a:t>
            </a:r>
            <a:r>
              <a:rPr lang="en-US" sz="2000" b="0" i="0" dirty="0">
                <a:latin typeface="Speedee" panose="020B0603030502020204" pitchFamily="34" charset="0"/>
              </a:rPr>
              <a:t> dolore.</a:t>
            </a:r>
          </a:p>
          <a:p>
            <a:pPr marL="342900" indent="-342900" defTabSz="548640">
              <a:buFont typeface="Arial" panose="020B0604020202020204" pitchFamily="34" charset="0"/>
              <a:buChar char="•"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.</a:t>
            </a:r>
          </a:p>
          <a:p>
            <a:pPr marL="342900" marR="0" lvl="0" indent="-342900" algn="l" defTabSz="54864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uismo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tincidun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u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laoreet</a:t>
            </a:r>
            <a:r>
              <a:rPr lang="en-US" sz="2000" b="0" i="0" dirty="0">
                <a:latin typeface="Speedee" panose="020B0603030502020204" pitchFamily="34" charset="0"/>
              </a:rPr>
              <a:t> dolore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8BE78C6-C573-FD4B-984B-0E74C4E818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8823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56B44266-E799-43A5-AEE2-FD690652E7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2818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4">
          <p15:clr>
            <a:srgbClr val="FBAE40"/>
          </p15:clr>
        </p15:guide>
        <p15:guide id="2" pos="752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acke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56B44266-E799-43A5-AEE2-FD690652E7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95E225-00A7-D24B-9956-20D6DF1B603D}"/>
              </a:ext>
            </a:extLst>
          </p:cNvPr>
          <p:cNvGrpSpPr/>
          <p:nvPr/>
        </p:nvGrpSpPr>
        <p:grpSpPr>
          <a:xfrm>
            <a:off x="9748689" y="468283"/>
            <a:ext cx="1968750" cy="960120"/>
            <a:chOff x="9748689" y="468283"/>
            <a:chExt cx="1968750" cy="960120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BA049C9F-A642-5A44-B0E2-036C05BCB272}"/>
                </a:ext>
              </a:extLst>
            </p:cNvPr>
            <p:cNvCxnSpPr>
              <a:cxnSpLocks/>
            </p:cNvCxnSpPr>
            <p:nvPr/>
          </p:nvCxnSpPr>
          <p:spPr>
            <a:xfrm>
              <a:off x="9748689" y="550437"/>
              <a:ext cx="1968750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7173C8AF-5B46-CB4C-9067-D09F1C8E9E92}"/>
                </a:ext>
              </a:extLst>
            </p:cNvPr>
            <p:cNvCxnSpPr>
              <a:cxnSpLocks/>
            </p:cNvCxnSpPr>
            <p:nvPr/>
          </p:nvCxnSpPr>
          <p:spPr>
            <a:xfrm>
              <a:off x="11633001" y="468283"/>
              <a:ext cx="0" cy="96012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79469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Half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59C9FB6-4D52-4E0A-B2EE-0F60917405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3074" y="457200"/>
            <a:ext cx="11250787" cy="2971800"/>
          </a:xfrm>
          <a:custGeom>
            <a:avLst/>
            <a:gdLst>
              <a:gd name="connsiteX0" fmla="*/ 0 w 11245851"/>
              <a:gd name="connsiteY0" fmla="*/ 278339 h 2971800"/>
              <a:gd name="connsiteX1" fmla="*/ 278339 w 11245851"/>
              <a:gd name="connsiteY1" fmla="*/ 0 h 2971800"/>
              <a:gd name="connsiteX2" fmla="*/ 10967512 w 11245851"/>
              <a:gd name="connsiteY2" fmla="*/ 0 h 2971800"/>
              <a:gd name="connsiteX3" fmla="*/ 11245851 w 11245851"/>
              <a:gd name="connsiteY3" fmla="*/ 278339 h 2971800"/>
              <a:gd name="connsiteX4" fmla="*/ 11245851 w 11245851"/>
              <a:gd name="connsiteY4" fmla="*/ 2693461 h 2971800"/>
              <a:gd name="connsiteX5" fmla="*/ 10967512 w 11245851"/>
              <a:gd name="connsiteY5" fmla="*/ 2971800 h 2971800"/>
              <a:gd name="connsiteX6" fmla="*/ 278339 w 11245851"/>
              <a:gd name="connsiteY6" fmla="*/ 2971800 h 2971800"/>
              <a:gd name="connsiteX7" fmla="*/ 0 w 11245851"/>
              <a:gd name="connsiteY7" fmla="*/ 2693461 h 2971800"/>
              <a:gd name="connsiteX8" fmla="*/ 0 w 11245851"/>
              <a:gd name="connsiteY8" fmla="*/ 278339 h 2971800"/>
              <a:gd name="connsiteX0" fmla="*/ 0 w 11858938"/>
              <a:gd name="connsiteY0" fmla="*/ 278339 h 2971800"/>
              <a:gd name="connsiteX1" fmla="*/ 278339 w 11858938"/>
              <a:gd name="connsiteY1" fmla="*/ 0 h 2971800"/>
              <a:gd name="connsiteX2" fmla="*/ 10967512 w 11858938"/>
              <a:gd name="connsiteY2" fmla="*/ 0 h 2971800"/>
              <a:gd name="connsiteX3" fmla="*/ 11245851 w 11858938"/>
              <a:gd name="connsiteY3" fmla="*/ 2693461 h 2971800"/>
              <a:gd name="connsiteX4" fmla="*/ 10967512 w 11858938"/>
              <a:gd name="connsiteY4" fmla="*/ 2971800 h 2971800"/>
              <a:gd name="connsiteX5" fmla="*/ 278339 w 11858938"/>
              <a:gd name="connsiteY5" fmla="*/ 2971800 h 2971800"/>
              <a:gd name="connsiteX6" fmla="*/ 0 w 11858938"/>
              <a:gd name="connsiteY6" fmla="*/ 2693461 h 2971800"/>
              <a:gd name="connsiteX7" fmla="*/ 0 w 11858938"/>
              <a:gd name="connsiteY7" fmla="*/ 278339 h 2971800"/>
              <a:gd name="connsiteX0" fmla="*/ 0 w 12061877"/>
              <a:gd name="connsiteY0" fmla="*/ 278339 h 2971800"/>
              <a:gd name="connsiteX1" fmla="*/ 278339 w 12061877"/>
              <a:gd name="connsiteY1" fmla="*/ 0 h 2971800"/>
              <a:gd name="connsiteX2" fmla="*/ 11250733 w 12061877"/>
              <a:gd name="connsiteY2" fmla="*/ 0 h 2971800"/>
              <a:gd name="connsiteX3" fmla="*/ 11245851 w 12061877"/>
              <a:gd name="connsiteY3" fmla="*/ 2693461 h 2971800"/>
              <a:gd name="connsiteX4" fmla="*/ 10967512 w 12061877"/>
              <a:gd name="connsiteY4" fmla="*/ 2971800 h 2971800"/>
              <a:gd name="connsiteX5" fmla="*/ 278339 w 12061877"/>
              <a:gd name="connsiteY5" fmla="*/ 2971800 h 2971800"/>
              <a:gd name="connsiteX6" fmla="*/ 0 w 12061877"/>
              <a:gd name="connsiteY6" fmla="*/ 2693461 h 2971800"/>
              <a:gd name="connsiteX7" fmla="*/ 0 w 12061877"/>
              <a:gd name="connsiteY7" fmla="*/ 278339 h 2971800"/>
              <a:gd name="connsiteX0" fmla="*/ 0 w 11327392"/>
              <a:gd name="connsiteY0" fmla="*/ 278339 h 2971800"/>
              <a:gd name="connsiteX1" fmla="*/ 278339 w 11327392"/>
              <a:gd name="connsiteY1" fmla="*/ 0 h 2971800"/>
              <a:gd name="connsiteX2" fmla="*/ 11250733 w 11327392"/>
              <a:gd name="connsiteY2" fmla="*/ 0 h 2971800"/>
              <a:gd name="connsiteX3" fmla="*/ 11245851 w 11327392"/>
              <a:gd name="connsiteY3" fmla="*/ 2693461 h 2971800"/>
              <a:gd name="connsiteX4" fmla="*/ 10967512 w 11327392"/>
              <a:gd name="connsiteY4" fmla="*/ 2971800 h 2971800"/>
              <a:gd name="connsiteX5" fmla="*/ 278339 w 11327392"/>
              <a:gd name="connsiteY5" fmla="*/ 2971800 h 2971800"/>
              <a:gd name="connsiteX6" fmla="*/ 0 w 11327392"/>
              <a:gd name="connsiteY6" fmla="*/ 2693461 h 2971800"/>
              <a:gd name="connsiteX7" fmla="*/ 0 w 11327392"/>
              <a:gd name="connsiteY7" fmla="*/ 278339 h 2971800"/>
              <a:gd name="connsiteX0" fmla="*/ 0 w 11250733"/>
              <a:gd name="connsiteY0" fmla="*/ 278339 h 2971800"/>
              <a:gd name="connsiteX1" fmla="*/ 278339 w 11250733"/>
              <a:gd name="connsiteY1" fmla="*/ 0 h 2971800"/>
              <a:gd name="connsiteX2" fmla="*/ 11250733 w 11250733"/>
              <a:gd name="connsiteY2" fmla="*/ 0 h 2971800"/>
              <a:gd name="connsiteX3" fmla="*/ 11245851 w 11250733"/>
              <a:gd name="connsiteY3" fmla="*/ 2693461 h 2971800"/>
              <a:gd name="connsiteX4" fmla="*/ 10967512 w 11250733"/>
              <a:gd name="connsiteY4" fmla="*/ 2971800 h 2971800"/>
              <a:gd name="connsiteX5" fmla="*/ 278339 w 11250733"/>
              <a:gd name="connsiteY5" fmla="*/ 2971800 h 2971800"/>
              <a:gd name="connsiteX6" fmla="*/ 0 w 11250733"/>
              <a:gd name="connsiteY6" fmla="*/ 2693461 h 2971800"/>
              <a:gd name="connsiteX7" fmla="*/ 0 w 11250733"/>
              <a:gd name="connsiteY7" fmla="*/ 278339 h 2971800"/>
              <a:gd name="connsiteX0" fmla="*/ 0 w 11250787"/>
              <a:gd name="connsiteY0" fmla="*/ 278339 h 2971800"/>
              <a:gd name="connsiteX1" fmla="*/ 278339 w 11250787"/>
              <a:gd name="connsiteY1" fmla="*/ 0 h 2971800"/>
              <a:gd name="connsiteX2" fmla="*/ 11250733 w 11250787"/>
              <a:gd name="connsiteY2" fmla="*/ 0 h 2971800"/>
              <a:gd name="connsiteX3" fmla="*/ 11245851 w 11250787"/>
              <a:gd name="connsiteY3" fmla="*/ 2693461 h 2971800"/>
              <a:gd name="connsiteX4" fmla="*/ 10967512 w 11250787"/>
              <a:gd name="connsiteY4" fmla="*/ 2971800 h 2971800"/>
              <a:gd name="connsiteX5" fmla="*/ 278339 w 11250787"/>
              <a:gd name="connsiteY5" fmla="*/ 2971800 h 2971800"/>
              <a:gd name="connsiteX6" fmla="*/ 0 w 11250787"/>
              <a:gd name="connsiteY6" fmla="*/ 2693461 h 2971800"/>
              <a:gd name="connsiteX7" fmla="*/ 0 w 11250787"/>
              <a:gd name="connsiteY7" fmla="*/ 278339 h 2971800"/>
              <a:gd name="connsiteX0" fmla="*/ 0 w 11250787"/>
              <a:gd name="connsiteY0" fmla="*/ 278339 h 2971800"/>
              <a:gd name="connsiteX1" fmla="*/ 278339 w 11250787"/>
              <a:gd name="connsiteY1" fmla="*/ 0 h 2971800"/>
              <a:gd name="connsiteX2" fmla="*/ 11250733 w 11250787"/>
              <a:gd name="connsiteY2" fmla="*/ 0 h 2971800"/>
              <a:gd name="connsiteX3" fmla="*/ 11245851 w 11250787"/>
              <a:gd name="connsiteY3" fmla="*/ 2693461 h 2971800"/>
              <a:gd name="connsiteX4" fmla="*/ 10967512 w 11250787"/>
              <a:gd name="connsiteY4" fmla="*/ 2971800 h 2971800"/>
              <a:gd name="connsiteX5" fmla="*/ 278339 w 11250787"/>
              <a:gd name="connsiteY5" fmla="*/ 2971800 h 2971800"/>
              <a:gd name="connsiteX6" fmla="*/ 0 w 11250787"/>
              <a:gd name="connsiteY6" fmla="*/ 2693461 h 2971800"/>
              <a:gd name="connsiteX7" fmla="*/ 0 w 11250787"/>
              <a:gd name="connsiteY7" fmla="*/ 278339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50787" h="2971800">
                <a:moveTo>
                  <a:pt x="0" y="278339"/>
                </a:moveTo>
                <a:cubicBezTo>
                  <a:pt x="0" y="124617"/>
                  <a:pt x="124617" y="0"/>
                  <a:pt x="278339" y="0"/>
                </a:cubicBezTo>
                <a:lnTo>
                  <a:pt x="11250733" y="0"/>
                </a:lnTo>
                <a:cubicBezTo>
                  <a:pt x="11251395" y="313608"/>
                  <a:pt x="11245851" y="2198161"/>
                  <a:pt x="11245851" y="2693461"/>
                </a:cubicBezTo>
                <a:cubicBezTo>
                  <a:pt x="11245851" y="2847183"/>
                  <a:pt x="11121234" y="2971800"/>
                  <a:pt x="10967512" y="2971800"/>
                </a:cubicBezTo>
                <a:lnTo>
                  <a:pt x="278339" y="2971800"/>
                </a:lnTo>
                <a:cubicBezTo>
                  <a:pt x="124617" y="2971800"/>
                  <a:pt x="0" y="2847183"/>
                  <a:pt x="0" y="2693461"/>
                </a:cubicBezTo>
                <a:lnTo>
                  <a:pt x="0" y="278339"/>
                </a:lnTo>
                <a:close/>
              </a:path>
            </a:pathLst>
          </a:custGeom>
          <a:solidFill>
            <a:schemeClr val="accent5"/>
          </a:solidFill>
          <a:ln w="38100">
            <a:noFill/>
            <a:miter lim="800000"/>
          </a:ln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noFill/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3075" y="3429000"/>
            <a:ext cx="11245849" cy="3200400"/>
          </a:xfrm>
        </p:spPr>
        <p:txBody>
          <a:bodyPr lIns="0" tIns="0" rIns="0" bIns="0" anchor="ctr" anchorCtr="0"/>
          <a:lstStyle>
            <a:lvl1pPr algn="ctr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A8CDBDBE-CCD7-44B3-831B-04900F3CC1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41778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4">
          <p15:clr>
            <a:srgbClr val="FBAE40"/>
          </p15:clr>
        </p15:guide>
        <p15:guide id="2" pos="752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Square Right: Brow &amp;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8206E935-75A6-4050-BE93-44C6EB65AA4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3075" y="1325880"/>
            <a:ext cx="5165725" cy="5074920"/>
          </a:xfrm>
          <a:prstGeom prst="rect">
            <a:avLst/>
          </a:prstGeom>
        </p:spPr>
        <p:txBody>
          <a:bodyPr anchor="ctr" anchorCtr="0"/>
          <a:lstStyle>
            <a:lvl1pPr marL="230188" indent="-230188">
              <a:buClr>
                <a:schemeClr val="tx1"/>
              </a:buClr>
              <a:buFontTx/>
              <a:buBlip>
                <a:blip r:embed="rId3"/>
              </a:buBlip>
              <a:defRPr sz="2000"/>
            </a:lvl1pPr>
            <a:lvl2pPr>
              <a:buClr>
                <a:schemeClr val="tx1"/>
              </a:buCl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4CD852-C37E-B14B-860B-FE42C676A6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65927"/>
            <a:ext cx="5165725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0A8188DC-6A49-AE43-B6BF-32186F665DF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8876" y="453561"/>
            <a:ext cx="5638345" cy="5947240"/>
          </a:xfrm>
          <a:custGeom>
            <a:avLst/>
            <a:gdLst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4818040 w 5158611"/>
              <a:gd name="connsiteY2" fmla="*/ 0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8611"/>
              <a:gd name="connsiteY0" fmla="*/ 340840 h 5943869"/>
              <a:gd name="connsiteX1" fmla="*/ 340571 w 5158611"/>
              <a:gd name="connsiteY1" fmla="*/ 269 h 5943869"/>
              <a:gd name="connsiteX2" fmla="*/ 4818040 w 5158611"/>
              <a:gd name="connsiteY2" fmla="*/ 269 h 5943869"/>
              <a:gd name="connsiteX3" fmla="*/ 5158611 w 5158611"/>
              <a:gd name="connsiteY3" fmla="*/ 340840 h 5943869"/>
              <a:gd name="connsiteX4" fmla="*/ 5158611 w 5158611"/>
              <a:gd name="connsiteY4" fmla="*/ 5603298 h 5943869"/>
              <a:gd name="connsiteX5" fmla="*/ 4818040 w 5158611"/>
              <a:gd name="connsiteY5" fmla="*/ 5943869 h 5943869"/>
              <a:gd name="connsiteX6" fmla="*/ 340571 w 5158611"/>
              <a:gd name="connsiteY6" fmla="*/ 5943869 h 5943869"/>
              <a:gd name="connsiteX7" fmla="*/ 0 w 5158611"/>
              <a:gd name="connsiteY7" fmla="*/ 5603298 h 5943869"/>
              <a:gd name="connsiteX8" fmla="*/ 0 w 5158611"/>
              <a:gd name="connsiteY8" fmla="*/ 340840 h 5943869"/>
              <a:gd name="connsiteX0" fmla="*/ 0 w 5164500"/>
              <a:gd name="connsiteY0" fmla="*/ 356316 h 5959345"/>
              <a:gd name="connsiteX1" fmla="*/ 340571 w 5164500"/>
              <a:gd name="connsiteY1" fmla="*/ 15745 h 5959345"/>
              <a:gd name="connsiteX2" fmla="*/ 5143505 w 5164500"/>
              <a:gd name="connsiteY2" fmla="*/ 247 h 5959345"/>
              <a:gd name="connsiteX3" fmla="*/ 5158611 w 5164500"/>
              <a:gd name="connsiteY3" fmla="*/ 356316 h 5959345"/>
              <a:gd name="connsiteX4" fmla="*/ 5158611 w 5164500"/>
              <a:gd name="connsiteY4" fmla="*/ 5618774 h 5959345"/>
              <a:gd name="connsiteX5" fmla="*/ 4818040 w 5164500"/>
              <a:gd name="connsiteY5" fmla="*/ 5959345 h 5959345"/>
              <a:gd name="connsiteX6" fmla="*/ 340571 w 5164500"/>
              <a:gd name="connsiteY6" fmla="*/ 5959345 h 5959345"/>
              <a:gd name="connsiteX7" fmla="*/ 0 w 5164500"/>
              <a:gd name="connsiteY7" fmla="*/ 5618774 h 5959345"/>
              <a:gd name="connsiteX8" fmla="*/ 0 w 5164500"/>
              <a:gd name="connsiteY8" fmla="*/ 356316 h 5959345"/>
              <a:gd name="connsiteX0" fmla="*/ 0 w 5158611"/>
              <a:gd name="connsiteY0" fmla="*/ 356126 h 5959155"/>
              <a:gd name="connsiteX1" fmla="*/ 340571 w 5158611"/>
              <a:gd name="connsiteY1" fmla="*/ 15555 h 5959155"/>
              <a:gd name="connsiteX2" fmla="*/ 5143505 w 5158611"/>
              <a:gd name="connsiteY2" fmla="*/ 57 h 5959155"/>
              <a:gd name="connsiteX3" fmla="*/ 5158611 w 5158611"/>
              <a:gd name="connsiteY3" fmla="*/ 356126 h 5959155"/>
              <a:gd name="connsiteX4" fmla="*/ 5158611 w 5158611"/>
              <a:gd name="connsiteY4" fmla="*/ 5618584 h 5959155"/>
              <a:gd name="connsiteX5" fmla="*/ 4818040 w 5158611"/>
              <a:gd name="connsiteY5" fmla="*/ 5959155 h 5959155"/>
              <a:gd name="connsiteX6" fmla="*/ 340571 w 5158611"/>
              <a:gd name="connsiteY6" fmla="*/ 5959155 h 5959155"/>
              <a:gd name="connsiteX7" fmla="*/ 0 w 5158611"/>
              <a:gd name="connsiteY7" fmla="*/ 5618584 h 5959155"/>
              <a:gd name="connsiteX8" fmla="*/ 0 w 5158611"/>
              <a:gd name="connsiteY8" fmla="*/ 356126 h 5959155"/>
              <a:gd name="connsiteX0" fmla="*/ 0 w 5158611"/>
              <a:gd name="connsiteY0" fmla="*/ 343773 h 5946802"/>
              <a:gd name="connsiteX1" fmla="*/ 340571 w 5158611"/>
              <a:gd name="connsiteY1" fmla="*/ 3202 h 5946802"/>
              <a:gd name="connsiteX2" fmla="*/ 5151743 w 5158611"/>
              <a:gd name="connsiteY2" fmla="*/ 61 h 5946802"/>
              <a:gd name="connsiteX3" fmla="*/ 5158611 w 5158611"/>
              <a:gd name="connsiteY3" fmla="*/ 343773 h 5946802"/>
              <a:gd name="connsiteX4" fmla="*/ 5158611 w 5158611"/>
              <a:gd name="connsiteY4" fmla="*/ 5606231 h 5946802"/>
              <a:gd name="connsiteX5" fmla="*/ 4818040 w 5158611"/>
              <a:gd name="connsiteY5" fmla="*/ 5946802 h 5946802"/>
              <a:gd name="connsiteX6" fmla="*/ 340571 w 5158611"/>
              <a:gd name="connsiteY6" fmla="*/ 5946802 h 5946802"/>
              <a:gd name="connsiteX7" fmla="*/ 0 w 5158611"/>
              <a:gd name="connsiteY7" fmla="*/ 5606231 h 5946802"/>
              <a:gd name="connsiteX8" fmla="*/ 0 w 5158611"/>
              <a:gd name="connsiteY8" fmla="*/ 343773 h 5946802"/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5155862 w 5158611"/>
              <a:gd name="connsiteY2" fmla="*/ 978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9981"/>
              <a:gd name="connsiteY0" fmla="*/ 340571 h 5943600"/>
              <a:gd name="connsiteX1" fmla="*/ 340571 w 5159981"/>
              <a:gd name="connsiteY1" fmla="*/ 0 h 5943600"/>
              <a:gd name="connsiteX2" fmla="*/ 5159981 w 5159981"/>
              <a:gd name="connsiteY2" fmla="*/ 978 h 5943600"/>
              <a:gd name="connsiteX3" fmla="*/ 5158611 w 5159981"/>
              <a:gd name="connsiteY3" fmla="*/ 340571 h 5943600"/>
              <a:gd name="connsiteX4" fmla="*/ 5158611 w 5159981"/>
              <a:gd name="connsiteY4" fmla="*/ 5603029 h 5943600"/>
              <a:gd name="connsiteX5" fmla="*/ 4818040 w 5159981"/>
              <a:gd name="connsiteY5" fmla="*/ 5943600 h 5943600"/>
              <a:gd name="connsiteX6" fmla="*/ 340571 w 5159981"/>
              <a:gd name="connsiteY6" fmla="*/ 5943600 h 5943600"/>
              <a:gd name="connsiteX7" fmla="*/ 0 w 5159981"/>
              <a:gd name="connsiteY7" fmla="*/ 5603029 h 5943600"/>
              <a:gd name="connsiteX8" fmla="*/ 0 w 5159981"/>
              <a:gd name="connsiteY8" fmla="*/ 340571 h 5943600"/>
              <a:gd name="connsiteX0" fmla="*/ 0 w 5529501"/>
              <a:gd name="connsiteY0" fmla="*/ 340571 h 5943600"/>
              <a:gd name="connsiteX1" fmla="*/ 340571 w 5529501"/>
              <a:gd name="connsiteY1" fmla="*/ 0 h 5943600"/>
              <a:gd name="connsiteX2" fmla="*/ 5159981 w 5529501"/>
              <a:gd name="connsiteY2" fmla="*/ 978 h 5943600"/>
              <a:gd name="connsiteX3" fmla="*/ 5158611 w 5529501"/>
              <a:gd name="connsiteY3" fmla="*/ 5603029 h 5943600"/>
              <a:gd name="connsiteX4" fmla="*/ 4818040 w 5529501"/>
              <a:gd name="connsiteY4" fmla="*/ 5943600 h 5943600"/>
              <a:gd name="connsiteX5" fmla="*/ 340571 w 5529501"/>
              <a:gd name="connsiteY5" fmla="*/ 5943600 h 5943600"/>
              <a:gd name="connsiteX6" fmla="*/ 0 w 5529501"/>
              <a:gd name="connsiteY6" fmla="*/ 5603029 h 5943600"/>
              <a:gd name="connsiteX7" fmla="*/ 0 w 5529501"/>
              <a:gd name="connsiteY7" fmla="*/ 340571 h 5943600"/>
              <a:gd name="connsiteX0" fmla="*/ 0 w 5719881"/>
              <a:gd name="connsiteY0" fmla="*/ 340571 h 5943600"/>
              <a:gd name="connsiteX1" fmla="*/ 340571 w 5719881"/>
              <a:gd name="connsiteY1" fmla="*/ 0 h 5943600"/>
              <a:gd name="connsiteX2" fmla="*/ 5159981 w 5719881"/>
              <a:gd name="connsiteY2" fmla="*/ 978 h 5943600"/>
              <a:gd name="connsiteX3" fmla="*/ 5158611 w 5719881"/>
              <a:gd name="connsiteY3" fmla="*/ 5603029 h 5943600"/>
              <a:gd name="connsiteX4" fmla="*/ 4818040 w 5719881"/>
              <a:gd name="connsiteY4" fmla="*/ 5943600 h 5943600"/>
              <a:gd name="connsiteX5" fmla="*/ 340571 w 5719881"/>
              <a:gd name="connsiteY5" fmla="*/ 5943600 h 5943600"/>
              <a:gd name="connsiteX6" fmla="*/ 0 w 5719881"/>
              <a:gd name="connsiteY6" fmla="*/ 5603029 h 5943600"/>
              <a:gd name="connsiteX7" fmla="*/ 0 w 5719881"/>
              <a:gd name="connsiteY7" fmla="*/ 340571 h 5943600"/>
              <a:gd name="connsiteX0" fmla="*/ 0 w 5184144"/>
              <a:gd name="connsiteY0" fmla="*/ 340571 h 5943600"/>
              <a:gd name="connsiteX1" fmla="*/ 340571 w 5184144"/>
              <a:gd name="connsiteY1" fmla="*/ 0 h 5943600"/>
              <a:gd name="connsiteX2" fmla="*/ 5159981 w 5184144"/>
              <a:gd name="connsiteY2" fmla="*/ 978 h 5943600"/>
              <a:gd name="connsiteX3" fmla="*/ 5158611 w 5184144"/>
              <a:gd name="connsiteY3" fmla="*/ 5603029 h 5943600"/>
              <a:gd name="connsiteX4" fmla="*/ 4818040 w 5184144"/>
              <a:gd name="connsiteY4" fmla="*/ 5943600 h 5943600"/>
              <a:gd name="connsiteX5" fmla="*/ 340571 w 5184144"/>
              <a:gd name="connsiteY5" fmla="*/ 5943600 h 5943600"/>
              <a:gd name="connsiteX6" fmla="*/ 0 w 5184144"/>
              <a:gd name="connsiteY6" fmla="*/ 5603029 h 5943600"/>
              <a:gd name="connsiteX7" fmla="*/ 0 w 5184144"/>
              <a:gd name="connsiteY7" fmla="*/ 340571 h 5943600"/>
              <a:gd name="connsiteX0" fmla="*/ 0 w 5194160"/>
              <a:gd name="connsiteY0" fmla="*/ 340571 h 5943600"/>
              <a:gd name="connsiteX1" fmla="*/ 340571 w 5194160"/>
              <a:gd name="connsiteY1" fmla="*/ 0 h 5943600"/>
              <a:gd name="connsiteX2" fmla="*/ 5187482 w 5194160"/>
              <a:gd name="connsiteY2" fmla="*/ 978 h 5943600"/>
              <a:gd name="connsiteX3" fmla="*/ 5158611 w 5194160"/>
              <a:gd name="connsiteY3" fmla="*/ 5603029 h 5943600"/>
              <a:gd name="connsiteX4" fmla="*/ 4818040 w 5194160"/>
              <a:gd name="connsiteY4" fmla="*/ 5943600 h 5943600"/>
              <a:gd name="connsiteX5" fmla="*/ 340571 w 5194160"/>
              <a:gd name="connsiteY5" fmla="*/ 5943600 h 5943600"/>
              <a:gd name="connsiteX6" fmla="*/ 0 w 5194160"/>
              <a:gd name="connsiteY6" fmla="*/ 5603029 h 5943600"/>
              <a:gd name="connsiteX7" fmla="*/ 0 w 5194160"/>
              <a:gd name="connsiteY7" fmla="*/ 340571 h 5943600"/>
              <a:gd name="connsiteX0" fmla="*/ 0 w 5911768"/>
              <a:gd name="connsiteY0" fmla="*/ 340571 h 5943600"/>
              <a:gd name="connsiteX1" fmla="*/ 340571 w 5911768"/>
              <a:gd name="connsiteY1" fmla="*/ 0 h 5943600"/>
              <a:gd name="connsiteX2" fmla="*/ 5187482 w 5911768"/>
              <a:gd name="connsiteY2" fmla="*/ 978 h 5943600"/>
              <a:gd name="connsiteX3" fmla="*/ 5158611 w 5911768"/>
              <a:gd name="connsiteY3" fmla="*/ 5603029 h 5943600"/>
              <a:gd name="connsiteX4" fmla="*/ 4818040 w 5911768"/>
              <a:gd name="connsiteY4" fmla="*/ 5943600 h 5943600"/>
              <a:gd name="connsiteX5" fmla="*/ 340571 w 5911768"/>
              <a:gd name="connsiteY5" fmla="*/ 5943600 h 5943600"/>
              <a:gd name="connsiteX6" fmla="*/ 0 w 5911768"/>
              <a:gd name="connsiteY6" fmla="*/ 5603029 h 5943600"/>
              <a:gd name="connsiteX7" fmla="*/ 0 w 5911768"/>
              <a:gd name="connsiteY7" fmla="*/ 340571 h 5943600"/>
              <a:gd name="connsiteX0" fmla="*/ 0 w 5193729"/>
              <a:gd name="connsiteY0" fmla="*/ 340571 h 5943600"/>
              <a:gd name="connsiteX1" fmla="*/ 340571 w 5193729"/>
              <a:gd name="connsiteY1" fmla="*/ 0 h 5943600"/>
              <a:gd name="connsiteX2" fmla="*/ 5187482 w 5193729"/>
              <a:gd name="connsiteY2" fmla="*/ 978 h 5943600"/>
              <a:gd name="connsiteX3" fmla="*/ 5158611 w 5193729"/>
              <a:gd name="connsiteY3" fmla="*/ 5603029 h 5943600"/>
              <a:gd name="connsiteX4" fmla="*/ 4818040 w 5193729"/>
              <a:gd name="connsiteY4" fmla="*/ 5943600 h 5943600"/>
              <a:gd name="connsiteX5" fmla="*/ 340571 w 5193729"/>
              <a:gd name="connsiteY5" fmla="*/ 5943600 h 5943600"/>
              <a:gd name="connsiteX6" fmla="*/ 0 w 5193729"/>
              <a:gd name="connsiteY6" fmla="*/ 5603029 h 5943600"/>
              <a:gd name="connsiteX7" fmla="*/ 0 w 5193729"/>
              <a:gd name="connsiteY7" fmla="*/ 340571 h 5943600"/>
              <a:gd name="connsiteX0" fmla="*/ 0 w 5191281"/>
              <a:gd name="connsiteY0" fmla="*/ 340571 h 5943600"/>
              <a:gd name="connsiteX1" fmla="*/ 340571 w 5191281"/>
              <a:gd name="connsiteY1" fmla="*/ 0 h 5943600"/>
              <a:gd name="connsiteX2" fmla="*/ 5187482 w 5191281"/>
              <a:gd name="connsiteY2" fmla="*/ 978 h 5943600"/>
              <a:gd name="connsiteX3" fmla="*/ 5158611 w 5191281"/>
              <a:gd name="connsiteY3" fmla="*/ 5603029 h 5943600"/>
              <a:gd name="connsiteX4" fmla="*/ 4818040 w 5191281"/>
              <a:gd name="connsiteY4" fmla="*/ 5943600 h 5943600"/>
              <a:gd name="connsiteX5" fmla="*/ 340571 w 5191281"/>
              <a:gd name="connsiteY5" fmla="*/ 5943600 h 5943600"/>
              <a:gd name="connsiteX6" fmla="*/ 0 w 5191281"/>
              <a:gd name="connsiteY6" fmla="*/ 5603029 h 5943600"/>
              <a:gd name="connsiteX7" fmla="*/ 0 w 5191281"/>
              <a:gd name="connsiteY7" fmla="*/ 340571 h 5943600"/>
              <a:gd name="connsiteX0" fmla="*/ 0 w 5197650"/>
              <a:gd name="connsiteY0" fmla="*/ 340571 h 5943600"/>
              <a:gd name="connsiteX1" fmla="*/ 340571 w 5197650"/>
              <a:gd name="connsiteY1" fmla="*/ 0 h 5943600"/>
              <a:gd name="connsiteX2" fmla="*/ 5187482 w 5197650"/>
              <a:gd name="connsiteY2" fmla="*/ 978 h 5943600"/>
              <a:gd name="connsiteX3" fmla="*/ 5158611 w 5197650"/>
              <a:gd name="connsiteY3" fmla="*/ 5603029 h 5943600"/>
              <a:gd name="connsiteX4" fmla="*/ 4818040 w 5197650"/>
              <a:gd name="connsiteY4" fmla="*/ 5943600 h 5943600"/>
              <a:gd name="connsiteX5" fmla="*/ 340571 w 5197650"/>
              <a:gd name="connsiteY5" fmla="*/ 5943600 h 5943600"/>
              <a:gd name="connsiteX6" fmla="*/ 0 w 5197650"/>
              <a:gd name="connsiteY6" fmla="*/ 5603029 h 5943600"/>
              <a:gd name="connsiteX7" fmla="*/ 0 w 5197650"/>
              <a:gd name="connsiteY7" fmla="*/ 340571 h 5943600"/>
              <a:gd name="connsiteX0" fmla="*/ 0 w 5187840"/>
              <a:gd name="connsiteY0" fmla="*/ 340571 h 5943600"/>
              <a:gd name="connsiteX1" fmla="*/ 340571 w 5187840"/>
              <a:gd name="connsiteY1" fmla="*/ 0 h 5943600"/>
              <a:gd name="connsiteX2" fmla="*/ 5187482 w 5187840"/>
              <a:gd name="connsiteY2" fmla="*/ 978 h 5943600"/>
              <a:gd name="connsiteX3" fmla="*/ 5158611 w 5187840"/>
              <a:gd name="connsiteY3" fmla="*/ 5603029 h 5943600"/>
              <a:gd name="connsiteX4" fmla="*/ 4818040 w 5187840"/>
              <a:gd name="connsiteY4" fmla="*/ 5943600 h 5943600"/>
              <a:gd name="connsiteX5" fmla="*/ 340571 w 5187840"/>
              <a:gd name="connsiteY5" fmla="*/ 5943600 h 5943600"/>
              <a:gd name="connsiteX6" fmla="*/ 0 w 5187840"/>
              <a:gd name="connsiteY6" fmla="*/ 5603029 h 5943600"/>
              <a:gd name="connsiteX7" fmla="*/ 0 w 5187840"/>
              <a:gd name="connsiteY7" fmla="*/ 340571 h 5943600"/>
              <a:gd name="connsiteX0" fmla="*/ 0 w 5178736"/>
              <a:gd name="connsiteY0" fmla="*/ 344211 h 5947240"/>
              <a:gd name="connsiteX1" fmla="*/ 340571 w 5178736"/>
              <a:gd name="connsiteY1" fmla="*/ 3640 h 5947240"/>
              <a:gd name="connsiteX2" fmla="*/ 5178246 w 5178736"/>
              <a:gd name="connsiteY2" fmla="*/ 0 h 5947240"/>
              <a:gd name="connsiteX3" fmla="*/ 5158611 w 5178736"/>
              <a:gd name="connsiteY3" fmla="*/ 5606669 h 5947240"/>
              <a:gd name="connsiteX4" fmla="*/ 4818040 w 5178736"/>
              <a:gd name="connsiteY4" fmla="*/ 5947240 h 5947240"/>
              <a:gd name="connsiteX5" fmla="*/ 340571 w 5178736"/>
              <a:gd name="connsiteY5" fmla="*/ 5947240 h 5947240"/>
              <a:gd name="connsiteX6" fmla="*/ 0 w 5178736"/>
              <a:gd name="connsiteY6" fmla="*/ 5606669 h 5947240"/>
              <a:gd name="connsiteX7" fmla="*/ 0 w 5178736"/>
              <a:gd name="connsiteY7" fmla="*/ 344211 h 5947240"/>
              <a:gd name="connsiteX0" fmla="*/ 0 w 5161607"/>
              <a:gd name="connsiteY0" fmla="*/ 344211 h 5947240"/>
              <a:gd name="connsiteX1" fmla="*/ 340571 w 5161607"/>
              <a:gd name="connsiteY1" fmla="*/ 3640 h 5947240"/>
              <a:gd name="connsiteX2" fmla="*/ 5159773 w 5161607"/>
              <a:gd name="connsiteY2" fmla="*/ 0 h 5947240"/>
              <a:gd name="connsiteX3" fmla="*/ 5158611 w 5161607"/>
              <a:gd name="connsiteY3" fmla="*/ 5606669 h 5947240"/>
              <a:gd name="connsiteX4" fmla="*/ 4818040 w 5161607"/>
              <a:gd name="connsiteY4" fmla="*/ 5947240 h 5947240"/>
              <a:gd name="connsiteX5" fmla="*/ 340571 w 5161607"/>
              <a:gd name="connsiteY5" fmla="*/ 5947240 h 5947240"/>
              <a:gd name="connsiteX6" fmla="*/ 0 w 5161607"/>
              <a:gd name="connsiteY6" fmla="*/ 5606669 h 5947240"/>
              <a:gd name="connsiteX7" fmla="*/ 0 w 5161607"/>
              <a:gd name="connsiteY7" fmla="*/ 344211 h 5947240"/>
              <a:gd name="connsiteX0" fmla="*/ 468923 w 5630530"/>
              <a:gd name="connsiteY0" fmla="*/ 344211 h 5947240"/>
              <a:gd name="connsiteX1" fmla="*/ 809494 w 5630530"/>
              <a:gd name="connsiteY1" fmla="*/ 3640 h 5947240"/>
              <a:gd name="connsiteX2" fmla="*/ 5628696 w 5630530"/>
              <a:gd name="connsiteY2" fmla="*/ 0 h 5947240"/>
              <a:gd name="connsiteX3" fmla="*/ 5627534 w 5630530"/>
              <a:gd name="connsiteY3" fmla="*/ 5606669 h 5947240"/>
              <a:gd name="connsiteX4" fmla="*/ 5286963 w 5630530"/>
              <a:gd name="connsiteY4" fmla="*/ 5947240 h 5947240"/>
              <a:gd name="connsiteX5" fmla="*/ 809494 w 5630530"/>
              <a:gd name="connsiteY5" fmla="*/ 5947240 h 5947240"/>
              <a:gd name="connsiteX6" fmla="*/ 0 w 5630530"/>
              <a:gd name="connsiteY6" fmla="*/ 5598853 h 5947240"/>
              <a:gd name="connsiteX7" fmla="*/ 468923 w 5630530"/>
              <a:gd name="connsiteY7" fmla="*/ 344211 h 5947240"/>
              <a:gd name="connsiteX0" fmla="*/ 0 w 5638345"/>
              <a:gd name="connsiteY0" fmla="*/ 352027 h 5947240"/>
              <a:gd name="connsiteX1" fmla="*/ 817309 w 5638345"/>
              <a:gd name="connsiteY1" fmla="*/ 3640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817309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817309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293678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364016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356202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364016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38345" h="5947240">
                <a:moveTo>
                  <a:pt x="0" y="352027"/>
                </a:moveTo>
                <a:cubicBezTo>
                  <a:pt x="0" y="163935"/>
                  <a:pt x="168110" y="11455"/>
                  <a:pt x="356202" y="11455"/>
                </a:cubicBezTo>
                <a:lnTo>
                  <a:pt x="5636511" y="0"/>
                </a:lnTo>
                <a:cubicBezTo>
                  <a:pt x="5640547" y="2407"/>
                  <a:pt x="5636886" y="4630086"/>
                  <a:pt x="5635349" y="5606669"/>
                </a:cubicBezTo>
                <a:cubicBezTo>
                  <a:pt x="5635349" y="5794761"/>
                  <a:pt x="5482870" y="5947240"/>
                  <a:pt x="5294778" y="5947240"/>
                </a:cubicBezTo>
                <a:lnTo>
                  <a:pt x="364016" y="5947240"/>
                </a:lnTo>
                <a:cubicBezTo>
                  <a:pt x="175924" y="5947240"/>
                  <a:pt x="7815" y="5786945"/>
                  <a:pt x="7815" y="5598853"/>
                </a:cubicBezTo>
                <a:lnTo>
                  <a:pt x="0" y="352027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>
              <a:buFontTx/>
              <a:buNone/>
              <a:defRPr lang="en-US" sz="1800" dirty="0">
                <a:noFill/>
              </a:defRPr>
            </a:lvl1pPr>
          </a:lstStyle>
          <a:p>
            <a:pPr lvl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3D8097F-9D9E-2647-B5DA-D73437AF743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2798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 Recangle Left: Brow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D865E613-40AA-2042-8BBE-482E69E35B1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656320" y="1737360"/>
            <a:ext cx="3062606" cy="4663439"/>
          </a:xfrm>
          <a:prstGeom prst="rect">
            <a:avLst/>
          </a:prstGeom>
        </p:spPr>
        <p:txBody>
          <a:bodyPr anchor="ctr" anchorCtr="0"/>
          <a:lstStyle>
            <a:lvl1pPr marL="230188" indent="-230188">
              <a:buClr>
                <a:schemeClr val="tx1"/>
              </a:buClr>
              <a:buFontTx/>
              <a:buBlip>
                <a:blip r:embed="rId3"/>
              </a:buBlip>
              <a:defRPr sz="2000"/>
            </a:lvl1pPr>
            <a:lvl2pPr>
              <a:buClr>
                <a:schemeClr val="tx1"/>
              </a:buCl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1679306A-E035-CE47-A814-D4626EE17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6319" y="457200"/>
            <a:ext cx="3062607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F1C0D3B4-289D-B34A-939F-B8FEDE5CF5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3075" y="453561"/>
            <a:ext cx="7724192" cy="5947240"/>
          </a:xfrm>
          <a:custGeom>
            <a:avLst/>
            <a:gdLst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4818040 w 5158611"/>
              <a:gd name="connsiteY2" fmla="*/ 0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8611"/>
              <a:gd name="connsiteY0" fmla="*/ 340840 h 5943869"/>
              <a:gd name="connsiteX1" fmla="*/ 340571 w 5158611"/>
              <a:gd name="connsiteY1" fmla="*/ 269 h 5943869"/>
              <a:gd name="connsiteX2" fmla="*/ 4818040 w 5158611"/>
              <a:gd name="connsiteY2" fmla="*/ 269 h 5943869"/>
              <a:gd name="connsiteX3" fmla="*/ 5158611 w 5158611"/>
              <a:gd name="connsiteY3" fmla="*/ 340840 h 5943869"/>
              <a:gd name="connsiteX4" fmla="*/ 5158611 w 5158611"/>
              <a:gd name="connsiteY4" fmla="*/ 5603298 h 5943869"/>
              <a:gd name="connsiteX5" fmla="*/ 4818040 w 5158611"/>
              <a:gd name="connsiteY5" fmla="*/ 5943869 h 5943869"/>
              <a:gd name="connsiteX6" fmla="*/ 340571 w 5158611"/>
              <a:gd name="connsiteY6" fmla="*/ 5943869 h 5943869"/>
              <a:gd name="connsiteX7" fmla="*/ 0 w 5158611"/>
              <a:gd name="connsiteY7" fmla="*/ 5603298 h 5943869"/>
              <a:gd name="connsiteX8" fmla="*/ 0 w 5158611"/>
              <a:gd name="connsiteY8" fmla="*/ 340840 h 5943869"/>
              <a:gd name="connsiteX0" fmla="*/ 0 w 5164500"/>
              <a:gd name="connsiteY0" fmla="*/ 356316 h 5959345"/>
              <a:gd name="connsiteX1" fmla="*/ 340571 w 5164500"/>
              <a:gd name="connsiteY1" fmla="*/ 15745 h 5959345"/>
              <a:gd name="connsiteX2" fmla="*/ 5143505 w 5164500"/>
              <a:gd name="connsiteY2" fmla="*/ 247 h 5959345"/>
              <a:gd name="connsiteX3" fmla="*/ 5158611 w 5164500"/>
              <a:gd name="connsiteY3" fmla="*/ 356316 h 5959345"/>
              <a:gd name="connsiteX4" fmla="*/ 5158611 w 5164500"/>
              <a:gd name="connsiteY4" fmla="*/ 5618774 h 5959345"/>
              <a:gd name="connsiteX5" fmla="*/ 4818040 w 5164500"/>
              <a:gd name="connsiteY5" fmla="*/ 5959345 h 5959345"/>
              <a:gd name="connsiteX6" fmla="*/ 340571 w 5164500"/>
              <a:gd name="connsiteY6" fmla="*/ 5959345 h 5959345"/>
              <a:gd name="connsiteX7" fmla="*/ 0 w 5164500"/>
              <a:gd name="connsiteY7" fmla="*/ 5618774 h 5959345"/>
              <a:gd name="connsiteX8" fmla="*/ 0 w 5164500"/>
              <a:gd name="connsiteY8" fmla="*/ 356316 h 5959345"/>
              <a:gd name="connsiteX0" fmla="*/ 0 w 5158611"/>
              <a:gd name="connsiteY0" fmla="*/ 356126 h 5959155"/>
              <a:gd name="connsiteX1" fmla="*/ 340571 w 5158611"/>
              <a:gd name="connsiteY1" fmla="*/ 15555 h 5959155"/>
              <a:gd name="connsiteX2" fmla="*/ 5143505 w 5158611"/>
              <a:gd name="connsiteY2" fmla="*/ 57 h 5959155"/>
              <a:gd name="connsiteX3" fmla="*/ 5158611 w 5158611"/>
              <a:gd name="connsiteY3" fmla="*/ 356126 h 5959155"/>
              <a:gd name="connsiteX4" fmla="*/ 5158611 w 5158611"/>
              <a:gd name="connsiteY4" fmla="*/ 5618584 h 5959155"/>
              <a:gd name="connsiteX5" fmla="*/ 4818040 w 5158611"/>
              <a:gd name="connsiteY5" fmla="*/ 5959155 h 5959155"/>
              <a:gd name="connsiteX6" fmla="*/ 340571 w 5158611"/>
              <a:gd name="connsiteY6" fmla="*/ 5959155 h 5959155"/>
              <a:gd name="connsiteX7" fmla="*/ 0 w 5158611"/>
              <a:gd name="connsiteY7" fmla="*/ 5618584 h 5959155"/>
              <a:gd name="connsiteX8" fmla="*/ 0 w 5158611"/>
              <a:gd name="connsiteY8" fmla="*/ 356126 h 5959155"/>
              <a:gd name="connsiteX0" fmla="*/ 0 w 5158611"/>
              <a:gd name="connsiteY0" fmla="*/ 343773 h 5946802"/>
              <a:gd name="connsiteX1" fmla="*/ 340571 w 5158611"/>
              <a:gd name="connsiteY1" fmla="*/ 3202 h 5946802"/>
              <a:gd name="connsiteX2" fmla="*/ 5151743 w 5158611"/>
              <a:gd name="connsiteY2" fmla="*/ 61 h 5946802"/>
              <a:gd name="connsiteX3" fmla="*/ 5158611 w 5158611"/>
              <a:gd name="connsiteY3" fmla="*/ 343773 h 5946802"/>
              <a:gd name="connsiteX4" fmla="*/ 5158611 w 5158611"/>
              <a:gd name="connsiteY4" fmla="*/ 5606231 h 5946802"/>
              <a:gd name="connsiteX5" fmla="*/ 4818040 w 5158611"/>
              <a:gd name="connsiteY5" fmla="*/ 5946802 h 5946802"/>
              <a:gd name="connsiteX6" fmla="*/ 340571 w 5158611"/>
              <a:gd name="connsiteY6" fmla="*/ 5946802 h 5946802"/>
              <a:gd name="connsiteX7" fmla="*/ 0 w 5158611"/>
              <a:gd name="connsiteY7" fmla="*/ 5606231 h 5946802"/>
              <a:gd name="connsiteX8" fmla="*/ 0 w 5158611"/>
              <a:gd name="connsiteY8" fmla="*/ 343773 h 5946802"/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5155862 w 5158611"/>
              <a:gd name="connsiteY2" fmla="*/ 978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9981"/>
              <a:gd name="connsiteY0" fmla="*/ 340571 h 5943600"/>
              <a:gd name="connsiteX1" fmla="*/ 340571 w 5159981"/>
              <a:gd name="connsiteY1" fmla="*/ 0 h 5943600"/>
              <a:gd name="connsiteX2" fmla="*/ 5159981 w 5159981"/>
              <a:gd name="connsiteY2" fmla="*/ 978 h 5943600"/>
              <a:gd name="connsiteX3" fmla="*/ 5158611 w 5159981"/>
              <a:gd name="connsiteY3" fmla="*/ 340571 h 5943600"/>
              <a:gd name="connsiteX4" fmla="*/ 5158611 w 5159981"/>
              <a:gd name="connsiteY4" fmla="*/ 5603029 h 5943600"/>
              <a:gd name="connsiteX5" fmla="*/ 4818040 w 5159981"/>
              <a:gd name="connsiteY5" fmla="*/ 5943600 h 5943600"/>
              <a:gd name="connsiteX6" fmla="*/ 340571 w 5159981"/>
              <a:gd name="connsiteY6" fmla="*/ 5943600 h 5943600"/>
              <a:gd name="connsiteX7" fmla="*/ 0 w 5159981"/>
              <a:gd name="connsiteY7" fmla="*/ 5603029 h 5943600"/>
              <a:gd name="connsiteX8" fmla="*/ 0 w 5159981"/>
              <a:gd name="connsiteY8" fmla="*/ 340571 h 5943600"/>
              <a:gd name="connsiteX0" fmla="*/ 0 w 5529501"/>
              <a:gd name="connsiteY0" fmla="*/ 340571 h 5943600"/>
              <a:gd name="connsiteX1" fmla="*/ 340571 w 5529501"/>
              <a:gd name="connsiteY1" fmla="*/ 0 h 5943600"/>
              <a:gd name="connsiteX2" fmla="*/ 5159981 w 5529501"/>
              <a:gd name="connsiteY2" fmla="*/ 978 h 5943600"/>
              <a:gd name="connsiteX3" fmla="*/ 5158611 w 5529501"/>
              <a:gd name="connsiteY3" fmla="*/ 5603029 h 5943600"/>
              <a:gd name="connsiteX4" fmla="*/ 4818040 w 5529501"/>
              <a:gd name="connsiteY4" fmla="*/ 5943600 h 5943600"/>
              <a:gd name="connsiteX5" fmla="*/ 340571 w 5529501"/>
              <a:gd name="connsiteY5" fmla="*/ 5943600 h 5943600"/>
              <a:gd name="connsiteX6" fmla="*/ 0 w 5529501"/>
              <a:gd name="connsiteY6" fmla="*/ 5603029 h 5943600"/>
              <a:gd name="connsiteX7" fmla="*/ 0 w 5529501"/>
              <a:gd name="connsiteY7" fmla="*/ 340571 h 5943600"/>
              <a:gd name="connsiteX0" fmla="*/ 0 w 5719881"/>
              <a:gd name="connsiteY0" fmla="*/ 340571 h 5943600"/>
              <a:gd name="connsiteX1" fmla="*/ 340571 w 5719881"/>
              <a:gd name="connsiteY1" fmla="*/ 0 h 5943600"/>
              <a:gd name="connsiteX2" fmla="*/ 5159981 w 5719881"/>
              <a:gd name="connsiteY2" fmla="*/ 978 h 5943600"/>
              <a:gd name="connsiteX3" fmla="*/ 5158611 w 5719881"/>
              <a:gd name="connsiteY3" fmla="*/ 5603029 h 5943600"/>
              <a:gd name="connsiteX4" fmla="*/ 4818040 w 5719881"/>
              <a:gd name="connsiteY4" fmla="*/ 5943600 h 5943600"/>
              <a:gd name="connsiteX5" fmla="*/ 340571 w 5719881"/>
              <a:gd name="connsiteY5" fmla="*/ 5943600 h 5943600"/>
              <a:gd name="connsiteX6" fmla="*/ 0 w 5719881"/>
              <a:gd name="connsiteY6" fmla="*/ 5603029 h 5943600"/>
              <a:gd name="connsiteX7" fmla="*/ 0 w 5719881"/>
              <a:gd name="connsiteY7" fmla="*/ 340571 h 5943600"/>
              <a:gd name="connsiteX0" fmla="*/ 0 w 5184144"/>
              <a:gd name="connsiteY0" fmla="*/ 340571 h 5943600"/>
              <a:gd name="connsiteX1" fmla="*/ 340571 w 5184144"/>
              <a:gd name="connsiteY1" fmla="*/ 0 h 5943600"/>
              <a:gd name="connsiteX2" fmla="*/ 5159981 w 5184144"/>
              <a:gd name="connsiteY2" fmla="*/ 978 h 5943600"/>
              <a:gd name="connsiteX3" fmla="*/ 5158611 w 5184144"/>
              <a:gd name="connsiteY3" fmla="*/ 5603029 h 5943600"/>
              <a:gd name="connsiteX4" fmla="*/ 4818040 w 5184144"/>
              <a:gd name="connsiteY4" fmla="*/ 5943600 h 5943600"/>
              <a:gd name="connsiteX5" fmla="*/ 340571 w 5184144"/>
              <a:gd name="connsiteY5" fmla="*/ 5943600 h 5943600"/>
              <a:gd name="connsiteX6" fmla="*/ 0 w 5184144"/>
              <a:gd name="connsiteY6" fmla="*/ 5603029 h 5943600"/>
              <a:gd name="connsiteX7" fmla="*/ 0 w 5184144"/>
              <a:gd name="connsiteY7" fmla="*/ 340571 h 5943600"/>
              <a:gd name="connsiteX0" fmla="*/ 0 w 5194160"/>
              <a:gd name="connsiteY0" fmla="*/ 340571 h 5943600"/>
              <a:gd name="connsiteX1" fmla="*/ 340571 w 5194160"/>
              <a:gd name="connsiteY1" fmla="*/ 0 h 5943600"/>
              <a:gd name="connsiteX2" fmla="*/ 5187482 w 5194160"/>
              <a:gd name="connsiteY2" fmla="*/ 978 h 5943600"/>
              <a:gd name="connsiteX3" fmla="*/ 5158611 w 5194160"/>
              <a:gd name="connsiteY3" fmla="*/ 5603029 h 5943600"/>
              <a:gd name="connsiteX4" fmla="*/ 4818040 w 5194160"/>
              <a:gd name="connsiteY4" fmla="*/ 5943600 h 5943600"/>
              <a:gd name="connsiteX5" fmla="*/ 340571 w 5194160"/>
              <a:gd name="connsiteY5" fmla="*/ 5943600 h 5943600"/>
              <a:gd name="connsiteX6" fmla="*/ 0 w 5194160"/>
              <a:gd name="connsiteY6" fmla="*/ 5603029 h 5943600"/>
              <a:gd name="connsiteX7" fmla="*/ 0 w 5194160"/>
              <a:gd name="connsiteY7" fmla="*/ 340571 h 5943600"/>
              <a:gd name="connsiteX0" fmla="*/ 0 w 5911768"/>
              <a:gd name="connsiteY0" fmla="*/ 340571 h 5943600"/>
              <a:gd name="connsiteX1" fmla="*/ 340571 w 5911768"/>
              <a:gd name="connsiteY1" fmla="*/ 0 h 5943600"/>
              <a:gd name="connsiteX2" fmla="*/ 5187482 w 5911768"/>
              <a:gd name="connsiteY2" fmla="*/ 978 h 5943600"/>
              <a:gd name="connsiteX3" fmla="*/ 5158611 w 5911768"/>
              <a:gd name="connsiteY3" fmla="*/ 5603029 h 5943600"/>
              <a:gd name="connsiteX4" fmla="*/ 4818040 w 5911768"/>
              <a:gd name="connsiteY4" fmla="*/ 5943600 h 5943600"/>
              <a:gd name="connsiteX5" fmla="*/ 340571 w 5911768"/>
              <a:gd name="connsiteY5" fmla="*/ 5943600 h 5943600"/>
              <a:gd name="connsiteX6" fmla="*/ 0 w 5911768"/>
              <a:gd name="connsiteY6" fmla="*/ 5603029 h 5943600"/>
              <a:gd name="connsiteX7" fmla="*/ 0 w 5911768"/>
              <a:gd name="connsiteY7" fmla="*/ 340571 h 5943600"/>
              <a:gd name="connsiteX0" fmla="*/ 0 w 5193729"/>
              <a:gd name="connsiteY0" fmla="*/ 340571 h 5943600"/>
              <a:gd name="connsiteX1" fmla="*/ 340571 w 5193729"/>
              <a:gd name="connsiteY1" fmla="*/ 0 h 5943600"/>
              <a:gd name="connsiteX2" fmla="*/ 5187482 w 5193729"/>
              <a:gd name="connsiteY2" fmla="*/ 978 h 5943600"/>
              <a:gd name="connsiteX3" fmla="*/ 5158611 w 5193729"/>
              <a:gd name="connsiteY3" fmla="*/ 5603029 h 5943600"/>
              <a:gd name="connsiteX4" fmla="*/ 4818040 w 5193729"/>
              <a:gd name="connsiteY4" fmla="*/ 5943600 h 5943600"/>
              <a:gd name="connsiteX5" fmla="*/ 340571 w 5193729"/>
              <a:gd name="connsiteY5" fmla="*/ 5943600 h 5943600"/>
              <a:gd name="connsiteX6" fmla="*/ 0 w 5193729"/>
              <a:gd name="connsiteY6" fmla="*/ 5603029 h 5943600"/>
              <a:gd name="connsiteX7" fmla="*/ 0 w 5193729"/>
              <a:gd name="connsiteY7" fmla="*/ 340571 h 5943600"/>
              <a:gd name="connsiteX0" fmla="*/ 0 w 5191281"/>
              <a:gd name="connsiteY0" fmla="*/ 340571 h 5943600"/>
              <a:gd name="connsiteX1" fmla="*/ 340571 w 5191281"/>
              <a:gd name="connsiteY1" fmla="*/ 0 h 5943600"/>
              <a:gd name="connsiteX2" fmla="*/ 5187482 w 5191281"/>
              <a:gd name="connsiteY2" fmla="*/ 978 h 5943600"/>
              <a:gd name="connsiteX3" fmla="*/ 5158611 w 5191281"/>
              <a:gd name="connsiteY3" fmla="*/ 5603029 h 5943600"/>
              <a:gd name="connsiteX4" fmla="*/ 4818040 w 5191281"/>
              <a:gd name="connsiteY4" fmla="*/ 5943600 h 5943600"/>
              <a:gd name="connsiteX5" fmla="*/ 340571 w 5191281"/>
              <a:gd name="connsiteY5" fmla="*/ 5943600 h 5943600"/>
              <a:gd name="connsiteX6" fmla="*/ 0 w 5191281"/>
              <a:gd name="connsiteY6" fmla="*/ 5603029 h 5943600"/>
              <a:gd name="connsiteX7" fmla="*/ 0 w 5191281"/>
              <a:gd name="connsiteY7" fmla="*/ 340571 h 5943600"/>
              <a:gd name="connsiteX0" fmla="*/ 0 w 5197650"/>
              <a:gd name="connsiteY0" fmla="*/ 340571 h 5943600"/>
              <a:gd name="connsiteX1" fmla="*/ 340571 w 5197650"/>
              <a:gd name="connsiteY1" fmla="*/ 0 h 5943600"/>
              <a:gd name="connsiteX2" fmla="*/ 5187482 w 5197650"/>
              <a:gd name="connsiteY2" fmla="*/ 978 h 5943600"/>
              <a:gd name="connsiteX3" fmla="*/ 5158611 w 5197650"/>
              <a:gd name="connsiteY3" fmla="*/ 5603029 h 5943600"/>
              <a:gd name="connsiteX4" fmla="*/ 4818040 w 5197650"/>
              <a:gd name="connsiteY4" fmla="*/ 5943600 h 5943600"/>
              <a:gd name="connsiteX5" fmla="*/ 340571 w 5197650"/>
              <a:gd name="connsiteY5" fmla="*/ 5943600 h 5943600"/>
              <a:gd name="connsiteX6" fmla="*/ 0 w 5197650"/>
              <a:gd name="connsiteY6" fmla="*/ 5603029 h 5943600"/>
              <a:gd name="connsiteX7" fmla="*/ 0 w 5197650"/>
              <a:gd name="connsiteY7" fmla="*/ 340571 h 5943600"/>
              <a:gd name="connsiteX0" fmla="*/ 0 w 5187840"/>
              <a:gd name="connsiteY0" fmla="*/ 340571 h 5943600"/>
              <a:gd name="connsiteX1" fmla="*/ 340571 w 5187840"/>
              <a:gd name="connsiteY1" fmla="*/ 0 h 5943600"/>
              <a:gd name="connsiteX2" fmla="*/ 5187482 w 5187840"/>
              <a:gd name="connsiteY2" fmla="*/ 978 h 5943600"/>
              <a:gd name="connsiteX3" fmla="*/ 5158611 w 5187840"/>
              <a:gd name="connsiteY3" fmla="*/ 5603029 h 5943600"/>
              <a:gd name="connsiteX4" fmla="*/ 4818040 w 5187840"/>
              <a:gd name="connsiteY4" fmla="*/ 5943600 h 5943600"/>
              <a:gd name="connsiteX5" fmla="*/ 340571 w 5187840"/>
              <a:gd name="connsiteY5" fmla="*/ 5943600 h 5943600"/>
              <a:gd name="connsiteX6" fmla="*/ 0 w 5187840"/>
              <a:gd name="connsiteY6" fmla="*/ 5603029 h 5943600"/>
              <a:gd name="connsiteX7" fmla="*/ 0 w 5187840"/>
              <a:gd name="connsiteY7" fmla="*/ 340571 h 5943600"/>
              <a:gd name="connsiteX0" fmla="*/ 0 w 5178736"/>
              <a:gd name="connsiteY0" fmla="*/ 344211 h 5947240"/>
              <a:gd name="connsiteX1" fmla="*/ 340571 w 5178736"/>
              <a:gd name="connsiteY1" fmla="*/ 3640 h 5947240"/>
              <a:gd name="connsiteX2" fmla="*/ 5178246 w 5178736"/>
              <a:gd name="connsiteY2" fmla="*/ 0 h 5947240"/>
              <a:gd name="connsiteX3" fmla="*/ 5158611 w 5178736"/>
              <a:gd name="connsiteY3" fmla="*/ 5606669 h 5947240"/>
              <a:gd name="connsiteX4" fmla="*/ 4818040 w 5178736"/>
              <a:gd name="connsiteY4" fmla="*/ 5947240 h 5947240"/>
              <a:gd name="connsiteX5" fmla="*/ 340571 w 5178736"/>
              <a:gd name="connsiteY5" fmla="*/ 5947240 h 5947240"/>
              <a:gd name="connsiteX6" fmla="*/ 0 w 5178736"/>
              <a:gd name="connsiteY6" fmla="*/ 5606669 h 5947240"/>
              <a:gd name="connsiteX7" fmla="*/ 0 w 5178736"/>
              <a:gd name="connsiteY7" fmla="*/ 344211 h 5947240"/>
              <a:gd name="connsiteX0" fmla="*/ 0 w 5161607"/>
              <a:gd name="connsiteY0" fmla="*/ 344211 h 5947240"/>
              <a:gd name="connsiteX1" fmla="*/ 340571 w 5161607"/>
              <a:gd name="connsiteY1" fmla="*/ 3640 h 5947240"/>
              <a:gd name="connsiteX2" fmla="*/ 5159773 w 5161607"/>
              <a:gd name="connsiteY2" fmla="*/ 0 h 5947240"/>
              <a:gd name="connsiteX3" fmla="*/ 5158611 w 5161607"/>
              <a:gd name="connsiteY3" fmla="*/ 5606669 h 5947240"/>
              <a:gd name="connsiteX4" fmla="*/ 4818040 w 5161607"/>
              <a:gd name="connsiteY4" fmla="*/ 5947240 h 5947240"/>
              <a:gd name="connsiteX5" fmla="*/ 340571 w 5161607"/>
              <a:gd name="connsiteY5" fmla="*/ 5947240 h 5947240"/>
              <a:gd name="connsiteX6" fmla="*/ 0 w 5161607"/>
              <a:gd name="connsiteY6" fmla="*/ 5606669 h 5947240"/>
              <a:gd name="connsiteX7" fmla="*/ 0 w 5161607"/>
              <a:gd name="connsiteY7" fmla="*/ 344211 h 5947240"/>
              <a:gd name="connsiteX0" fmla="*/ 468923 w 5630530"/>
              <a:gd name="connsiteY0" fmla="*/ 344211 h 5947240"/>
              <a:gd name="connsiteX1" fmla="*/ 809494 w 5630530"/>
              <a:gd name="connsiteY1" fmla="*/ 3640 h 5947240"/>
              <a:gd name="connsiteX2" fmla="*/ 5628696 w 5630530"/>
              <a:gd name="connsiteY2" fmla="*/ 0 h 5947240"/>
              <a:gd name="connsiteX3" fmla="*/ 5627534 w 5630530"/>
              <a:gd name="connsiteY3" fmla="*/ 5606669 h 5947240"/>
              <a:gd name="connsiteX4" fmla="*/ 5286963 w 5630530"/>
              <a:gd name="connsiteY4" fmla="*/ 5947240 h 5947240"/>
              <a:gd name="connsiteX5" fmla="*/ 809494 w 5630530"/>
              <a:gd name="connsiteY5" fmla="*/ 5947240 h 5947240"/>
              <a:gd name="connsiteX6" fmla="*/ 0 w 5630530"/>
              <a:gd name="connsiteY6" fmla="*/ 5598853 h 5947240"/>
              <a:gd name="connsiteX7" fmla="*/ 468923 w 5630530"/>
              <a:gd name="connsiteY7" fmla="*/ 344211 h 5947240"/>
              <a:gd name="connsiteX0" fmla="*/ 0 w 5638345"/>
              <a:gd name="connsiteY0" fmla="*/ 352027 h 5947240"/>
              <a:gd name="connsiteX1" fmla="*/ 817309 w 5638345"/>
              <a:gd name="connsiteY1" fmla="*/ 3640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817309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817309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293678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364016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356202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364016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7723733"/>
              <a:gd name="connsiteY0" fmla="*/ 352027 h 5947240"/>
              <a:gd name="connsiteX1" fmla="*/ 356202 w 7723733"/>
              <a:gd name="connsiteY1" fmla="*/ 11455 h 5947240"/>
              <a:gd name="connsiteX2" fmla="*/ 7723728 w 7723733"/>
              <a:gd name="connsiteY2" fmla="*/ 0 h 5947240"/>
              <a:gd name="connsiteX3" fmla="*/ 5635349 w 7723733"/>
              <a:gd name="connsiteY3" fmla="*/ 5606669 h 5947240"/>
              <a:gd name="connsiteX4" fmla="*/ 5294778 w 7723733"/>
              <a:gd name="connsiteY4" fmla="*/ 5947240 h 5947240"/>
              <a:gd name="connsiteX5" fmla="*/ 364016 w 7723733"/>
              <a:gd name="connsiteY5" fmla="*/ 5947240 h 5947240"/>
              <a:gd name="connsiteX6" fmla="*/ 7815 w 7723733"/>
              <a:gd name="connsiteY6" fmla="*/ 5598853 h 5947240"/>
              <a:gd name="connsiteX7" fmla="*/ 0 w 7723733"/>
              <a:gd name="connsiteY7" fmla="*/ 352027 h 5947240"/>
              <a:gd name="connsiteX0" fmla="*/ 0 w 7724473"/>
              <a:gd name="connsiteY0" fmla="*/ 352027 h 5947240"/>
              <a:gd name="connsiteX1" fmla="*/ 356202 w 7724473"/>
              <a:gd name="connsiteY1" fmla="*/ 11455 h 5947240"/>
              <a:gd name="connsiteX2" fmla="*/ 7723728 w 7724473"/>
              <a:gd name="connsiteY2" fmla="*/ 0 h 5947240"/>
              <a:gd name="connsiteX3" fmla="*/ 7712627 w 7724473"/>
              <a:gd name="connsiteY3" fmla="*/ 5517217 h 5947240"/>
              <a:gd name="connsiteX4" fmla="*/ 5294778 w 7724473"/>
              <a:gd name="connsiteY4" fmla="*/ 5947240 h 5947240"/>
              <a:gd name="connsiteX5" fmla="*/ 364016 w 7724473"/>
              <a:gd name="connsiteY5" fmla="*/ 5947240 h 5947240"/>
              <a:gd name="connsiteX6" fmla="*/ 7815 w 7724473"/>
              <a:gd name="connsiteY6" fmla="*/ 5598853 h 5947240"/>
              <a:gd name="connsiteX7" fmla="*/ 0 w 7724473"/>
              <a:gd name="connsiteY7" fmla="*/ 352027 h 5947240"/>
              <a:gd name="connsiteX0" fmla="*/ 0 w 7724473"/>
              <a:gd name="connsiteY0" fmla="*/ 352027 h 5947240"/>
              <a:gd name="connsiteX1" fmla="*/ 356202 w 7724473"/>
              <a:gd name="connsiteY1" fmla="*/ 11455 h 5947240"/>
              <a:gd name="connsiteX2" fmla="*/ 7723728 w 7724473"/>
              <a:gd name="connsiteY2" fmla="*/ 0 h 5947240"/>
              <a:gd name="connsiteX3" fmla="*/ 7712627 w 7724473"/>
              <a:gd name="connsiteY3" fmla="*/ 5517217 h 5947240"/>
              <a:gd name="connsiteX4" fmla="*/ 7391934 w 7724473"/>
              <a:gd name="connsiteY4" fmla="*/ 5947240 h 5947240"/>
              <a:gd name="connsiteX5" fmla="*/ 364016 w 7724473"/>
              <a:gd name="connsiteY5" fmla="*/ 5947240 h 5947240"/>
              <a:gd name="connsiteX6" fmla="*/ 7815 w 7724473"/>
              <a:gd name="connsiteY6" fmla="*/ 5598853 h 5947240"/>
              <a:gd name="connsiteX7" fmla="*/ 0 w 7724473"/>
              <a:gd name="connsiteY7" fmla="*/ 352027 h 5947240"/>
              <a:gd name="connsiteX0" fmla="*/ 0 w 7724473"/>
              <a:gd name="connsiteY0" fmla="*/ 352027 h 5947240"/>
              <a:gd name="connsiteX1" fmla="*/ 356202 w 7724473"/>
              <a:gd name="connsiteY1" fmla="*/ 11455 h 5947240"/>
              <a:gd name="connsiteX2" fmla="*/ 7723728 w 7724473"/>
              <a:gd name="connsiteY2" fmla="*/ 0 h 5947240"/>
              <a:gd name="connsiteX3" fmla="*/ 7712627 w 7724473"/>
              <a:gd name="connsiteY3" fmla="*/ 5517217 h 5947240"/>
              <a:gd name="connsiteX4" fmla="*/ 7322360 w 7724473"/>
              <a:gd name="connsiteY4" fmla="*/ 5947240 h 5947240"/>
              <a:gd name="connsiteX5" fmla="*/ 364016 w 7724473"/>
              <a:gd name="connsiteY5" fmla="*/ 5947240 h 5947240"/>
              <a:gd name="connsiteX6" fmla="*/ 7815 w 7724473"/>
              <a:gd name="connsiteY6" fmla="*/ 5598853 h 5947240"/>
              <a:gd name="connsiteX7" fmla="*/ 0 w 7724473"/>
              <a:gd name="connsiteY7" fmla="*/ 352027 h 5947240"/>
              <a:gd name="connsiteX0" fmla="*/ 0 w 7724192"/>
              <a:gd name="connsiteY0" fmla="*/ 352027 h 5947240"/>
              <a:gd name="connsiteX1" fmla="*/ 356202 w 7724192"/>
              <a:gd name="connsiteY1" fmla="*/ 11455 h 5947240"/>
              <a:gd name="connsiteX2" fmla="*/ 7723728 w 7724192"/>
              <a:gd name="connsiteY2" fmla="*/ 0 h 5947240"/>
              <a:gd name="connsiteX3" fmla="*/ 7702688 w 7724192"/>
              <a:gd name="connsiteY3" fmla="*/ 5606669 h 5947240"/>
              <a:gd name="connsiteX4" fmla="*/ 7322360 w 7724192"/>
              <a:gd name="connsiteY4" fmla="*/ 5947240 h 5947240"/>
              <a:gd name="connsiteX5" fmla="*/ 364016 w 7724192"/>
              <a:gd name="connsiteY5" fmla="*/ 5947240 h 5947240"/>
              <a:gd name="connsiteX6" fmla="*/ 7815 w 7724192"/>
              <a:gd name="connsiteY6" fmla="*/ 5598853 h 5947240"/>
              <a:gd name="connsiteX7" fmla="*/ 0 w 7724192"/>
              <a:gd name="connsiteY7" fmla="*/ 352027 h 594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4192" h="5947240">
                <a:moveTo>
                  <a:pt x="0" y="352027"/>
                </a:moveTo>
                <a:cubicBezTo>
                  <a:pt x="0" y="163935"/>
                  <a:pt x="168110" y="11455"/>
                  <a:pt x="356202" y="11455"/>
                </a:cubicBezTo>
                <a:lnTo>
                  <a:pt x="7723728" y="0"/>
                </a:lnTo>
                <a:cubicBezTo>
                  <a:pt x="7727764" y="2407"/>
                  <a:pt x="7704225" y="4630086"/>
                  <a:pt x="7702688" y="5606669"/>
                </a:cubicBezTo>
                <a:cubicBezTo>
                  <a:pt x="7702688" y="5794761"/>
                  <a:pt x="7510452" y="5947240"/>
                  <a:pt x="7322360" y="5947240"/>
                </a:cubicBezTo>
                <a:lnTo>
                  <a:pt x="364016" y="5947240"/>
                </a:lnTo>
                <a:cubicBezTo>
                  <a:pt x="175924" y="5947240"/>
                  <a:pt x="7815" y="5786945"/>
                  <a:pt x="7815" y="5598853"/>
                </a:cubicBezTo>
                <a:lnTo>
                  <a:pt x="0" y="352027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>
              <a:buFontTx/>
              <a:buNone/>
              <a:defRPr lang="en-US" sz="1800" dirty="0">
                <a:noFill/>
              </a:defRPr>
            </a:lvl1pPr>
          </a:lstStyle>
          <a:p>
            <a:pPr lvl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849A903B-4415-4646-B995-E47A9EDA5D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235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1371600"/>
            <a:ext cx="11521440" cy="1828800"/>
          </a:xfrm>
        </p:spPr>
        <p:txBody>
          <a:bodyPr lIns="91440" rIns="91440" anchor="t" anchorCtr="0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5A367CF-DC60-40EA-9DDA-9041D5B07D1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396" r="34344" b="58268"/>
          <a:stretch/>
        </p:blipFill>
        <p:spPr>
          <a:xfrm>
            <a:off x="4937760" y="3036696"/>
            <a:ext cx="7254240" cy="38213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18354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3x Rounded Corners 3:2: Brow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88577326-8E57-624C-8AFD-DFB614C974D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3076" y="3749040"/>
            <a:ext cx="3658078" cy="233172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8078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3655716" y="0"/>
                </a:lnTo>
                <a:cubicBezTo>
                  <a:pt x="3660164" y="5824"/>
                  <a:pt x="3656965" y="1741826"/>
                  <a:pt x="3656965" y="2130446"/>
                </a:cubicBezTo>
                <a:cubicBezTo>
                  <a:pt x="3656965" y="2241607"/>
                  <a:pt x="3566852" y="2331720"/>
                  <a:pt x="3455691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988FE8-7BCE-4DCC-AD06-6E2476D85CA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3076" y="1164006"/>
            <a:ext cx="11245850" cy="2103120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 dirty="0"/>
              <a:t>Edit Master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4324FC-DA88-024C-B850-9A3B70FA29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748BFDC7-BD18-0F4A-9CA2-B7EDF05E7E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67200" y="3749040"/>
            <a:ext cx="3658078" cy="233172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8078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3655716" y="0"/>
                </a:lnTo>
                <a:cubicBezTo>
                  <a:pt x="3660164" y="5824"/>
                  <a:pt x="3656965" y="1741826"/>
                  <a:pt x="3656965" y="2130446"/>
                </a:cubicBezTo>
                <a:cubicBezTo>
                  <a:pt x="3656965" y="2241607"/>
                  <a:pt x="3566852" y="2331720"/>
                  <a:pt x="3455691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4C630D1A-4F2A-EA4A-AEDE-FE3DFA17557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067206" y="3749040"/>
            <a:ext cx="3658078" cy="233172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8078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3655716" y="0"/>
                </a:lnTo>
                <a:cubicBezTo>
                  <a:pt x="3660164" y="5824"/>
                  <a:pt x="3656965" y="1741826"/>
                  <a:pt x="3656965" y="2130446"/>
                </a:cubicBezTo>
                <a:cubicBezTo>
                  <a:pt x="3656965" y="2241607"/>
                  <a:pt x="3566852" y="2331720"/>
                  <a:pt x="3455691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7C7EC9-09B4-F944-9598-B2A5B748A78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51208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3x Corners 3:2: Brow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988FE8-7BCE-4DCC-AD06-6E2476D85CA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3076" y="1164006"/>
            <a:ext cx="11245850" cy="2103120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 dirty="0"/>
              <a:t>Edit Master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4324FC-DA88-024C-B850-9A3B70FA29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7C7EC9-09B4-F944-9598-B2A5B748A78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81CDAB73-EF81-E241-816A-0BFA45F3BD7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061324" y="3749040"/>
            <a:ext cx="3663961" cy="2331720"/>
          </a:xfrm>
          <a:prstGeom prst="rect">
            <a:avLst/>
          </a:pr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8AB714AD-04ED-D14E-AA32-32ABD684B03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73082" y="3749040"/>
            <a:ext cx="3652196" cy="2331720"/>
          </a:xfrm>
          <a:prstGeom prst="rect">
            <a:avLst/>
          </a:pr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26D08B4C-08CB-DB42-9ACF-6D152954B29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73074" y="3749040"/>
            <a:ext cx="3652197" cy="2331720"/>
          </a:xfrm>
          <a:prstGeom prst="rect">
            <a:avLst/>
          </a:pr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37175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s 3x Square: Brow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6880F47F-F674-B44C-A09F-58D1737190C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21071" y="2240280"/>
            <a:ext cx="2486409" cy="260604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2048239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69 w 2224682"/>
              <a:gd name="connsiteY3" fmla="*/ 2156390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09767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4682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2222320" y="0"/>
                </a:lnTo>
                <a:cubicBezTo>
                  <a:pt x="2226768" y="5824"/>
                  <a:pt x="2223570" y="1738176"/>
                  <a:pt x="2223570" y="2126796"/>
                </a:cubicBezTo>
                <a:cubicBezTo>
                  <a:pt x="2223570" y="2237957"/>
                  <a:pt x="2120928" y="2331720"/>
                  <a:pt x="2009767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30D4F522-AF5A-F944-8A53-12A92CE142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627111" y="2240280"/>
            <a:ext cx="2486409" cy="260604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2048239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69 w 2224682"/>
              <a:gd name="connsiteY3" fmla="*/ 2156390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09767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4682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2222320" y="0"/>
                </a:lnTo>
                <a:cubicBezTo>
                  <a:pt x="2226768" y="5824"/>
                  <a:pt x="2223570" y="1738176"/>
                  <a:pt x="2223570" y="2126796"/>
                </a:cubicBezTo>
                <a:cubicBezTo>
                  <a:pt x="2223570" y="2237957"/>
                  <a:pt x="2120928" y="2331720"/>
                  <a:pt x="2009767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A64242F8-6C64-BC40-ADF5-0D67C98ABC5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229922" y="2240280"/>
            <a:ext cx="2486409" cy="260604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2048239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69 w 2224682"/>
              <a:gd name="connsiteY3" fmla="*/ 2156390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09767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4682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2222320" y="0"/>
                </a:lnTo>
                <a:cubicBezTo>
                  <a:pt x="2226768" y="5824"/>
                  <a:pt x="2223570" y="1738176"/>
                  <a:pt x="2223570" y="2126796"/>
                </a:cubicBezTo>
                <a:cubicBezTo>
                  <a:pt x="2223570" y="2237957"/>
                  <a:pt x="2120928" y="2331720"/>
                  <a:pt x="2009767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567A0B-1088-E047-9FB4-02B34895658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565A970-4684-2F4D-98F0-4F5379F1F2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2BDD42C-F253-0643-A91B-BB12DB92EA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3075" y="1280160"/>
            <a:ext cx="3108325" cy="5120640"/>
          </a:xfrm>
          <a:prstGeom prst="rect">
            <a:avLst/>
          </a:prstGeom>
        </p:spPr>
        <p:txBody>
          <a:bodyPr vert="horz" lIns="137160" tIns="91440" rIns="137160" bIns="274320" rtlCol="0" anchor="ctr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13311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s 4x Grid: Brow &amp;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E79FAC9-EB2E-114E-90BC-D7B50FE68CB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0624" y="3657599"/>
            <a:ext cx="2748576" cy="2746376"/>
          </a:xfrm>
          <a:custGeom>
            <a:avLst/>
            <a:gdLst>
              <a:gd name="connsiteX0" fmla="*/ 0 w 2743200"/>
              <a:gd name="connsiteY0" fmla="*/ 0 h 2743200"/>
              <a:gd name="connsiteX1" fmla="*/ 2743200 w 2743200"/>
              <a:gd name="connsiteY1" fmla="*/ 0 h 2743200"/>
              <a:gd name="connsiteX2" fmla="*/ 2743200 w 2743200"/>
              <a:gd name="connsiteY2" fmla="*/ 2743200 h 2743200"/>
              <a:gd name="connsiteX3" fmla="*/ 0 w 2743200"/>
              <a:gd name="connsiteY3" fmla="*/ 2743200 h 2743200"/>
              <a:gd name="connsiteX4" fmla="*/ 0 w 2743200"/>
              <a:gd name="connsiteY4" fmla="*/ 0 h 2743200"/>
              <a:gd name="connsiteX0" fmla="*/ 342900 w 3086100"/>
              <a:gd name="connsiteY0" fmla="*/ 0 h 3086100"/>
              <a:gd name="connsiteX1" fmla="*/ 3086100 w 3086100"/>
              <a:gd name="connsiteY1" fmla="*/ 0 h 3086100"/>
              <a:gd name="connsiteX2" fmla="*/ 3086100 w 3086100"/>
              <a:gd name="connsiteY2" fmla="*/ 2743200 h 3086100"/>
              <a:gd name="connsiteX3" fmla="*/ 342900 w 3086100"/>
              <a:gd name="connsiteY3" fmla="*/ 2743200 h 3086100"/>
              <a:gd name="connsiteX4" fmla="*/ 342900 w 3086100"/>
              <a:gd name="connsiteY4" fmla="*/ 0 h 3086100"/>
              <a:gd name="connsiteX0" fmla="*/ 348767 w 3091967"/>
              <a:gd name="connsiteY0" fmla="*/ 0 h 3011102"/>
              <a:gd name="connsiteX1" fmla="*/ 3091967 w 3091967"/>
              <a:gd name="connsiteY1" fmla="*/ 0 h 3011102"/>
              <a:gd name="connsiteX2" fmla="*/ 3091967 w 3091967"/>
              <a:gd name="connsiteY2" fmla="*/ 2743200 h 3011102"/>
              <a:gd name="connsiteX3" fmla="*/ 337143 w 3091967"/>
              <a:gd name="connsiteY3" fmla="*/ 2568844 h 3011102"/>
              <a:gd name="connsiteX4" fmla="*/ 348767 w 3091967"/>
              <a:gd name="connsiteY4" fmla="*/ 0 h 3011102"/>
              <a:gd name="connsiteX0" fmla="*/ 206259 w 2949459"/>
              <a:gd name="connsiteY0" fmla="*/ 0 h 2924885"/>
              <a:gd name="connsiteX1" fmla="*/ 2949459 w 2949459"/>
              <a:gd name="connsiteY1" fmla="*/ 0 h 2924885"/>
              <a:gd name="connsiteX2" fmla="*/ 2949459 w 2949459"/>
              <a:gd name="connsiteY2" fmla="*/ 2743200 h 2924885"/>
              <a:gd name="connsiteX3" fmla="*/ 194635 w 2949459"/>
              <a:gd name="connsiteY3" fmla="*/ 2568844 h 2924885"/>
              <a:gd name="connsiteX4" fmla="*/ 206259 w 2949459"/>
              <a:gd name="connsiteY4" fmla="*/ 0 h 2924885"/>
              <a:gd name="connsiteX0" fmla="*/ 11624 w 2754824"/>
              <a:gd name="connsiteY0" fmla="*/ 0 h 2924885"/>
              <a:gd name="connsiteX1" fmla="*/ 2754824 w 2754824"/>
              <a:gd name="connsiteY1" fmla="*/ 0 h 2924885"/>
              <a:gd name="connsiteX2" fmla="*/ 2754824 w 2754824"/>
              <a:gd name="connsiteY2" fmla="*/ 2743200 h 2924885"/>
              <a:gd name="connsiteX3" fmla="*/ 0 w 2754824"/>
              <a:gd name="connsiteY3" fmla="*/ 2568844 h 2924885"/>
              <a:gd name="connsiteX4" fmla="*/ 11624 w 2754824"/>
              <a:gd name="connsiteY4" fmla="*/ 0 h 2924885"/>
              <a:gd name="connsiteX0" fmla="*/ 64001 w 2807201"/>
              <a:gd name="connsiteY0" fmla="*/ 0 h 2925673"/>
              <a:gd name="connsiteX1" fmla="*/ 2807201 w 2807201"/>
              <a:gd name="connsiteY1" fmla="*/ 0 h 2925673"/>
              <a:gd name="connsiteX2" fmla="*/ 2807201 w 2807201"/>
              <a:gd name="connsiteY2" fmla="*/ 2743200 h 2925673"/>
              <a:gd name="connsiteX3" fmla="*/ 268062 w 2807201"/>
              <a:gd name="connsiteY3" fmla="*/ 2657960 h 2925673"/>
              <a:gd name="connsiteX4" fmla="*/ 52377 w 2807201"/>
              <a:gd name="connsiteY4" fmla="*/ 2568844 h 2925673"/>
              <a:gd name="connsiteX5" fmla="*/ 64001 w 2807201"/>
              <a:gd name="connsiteY5" fmla="*/ 0 h 2925673"/>
              <a:gd name="connsiteX0" fmla="*/ 93513 w 2836713"/>
              <a:gd name="connsiteY0" fmla="*/ 0 h 2946704"/>
              <a:gd name="connsiteX1" fmla="*/ 2836713 w 2836713"/>
              <a:gd name="connsiteY1" fmla="*/ 0 h 2946704"/>
              <a:gd name="connsiteX2" fmla="*/ 2836713 w 2836713"/>
              <a:gd name="connsiteY2" fmla="*/ 2743200 h 2946704"/>
              <a:gd name="connsiteX3" fmla="*/ 251079 w 2836713"/>
              <a:gd name="connsiteY3" fmla="*/ 2743201 h 2946704"/>
              <a:gd name="connsiteX4" fmla="*/ 81889 w 2836713"/>
              <a:gd name="connsiteY4" fmla="*/ 2568844 h 2946704"/>
              <a:gd name="connsiteX5" fmla="*/ 93513 w 2836713"/>
              <a:gd name="connsiteY5" fmla="*/ 0 h 2946704"/>
              <a:gd name="connsiteX0" fmla="*/ 21496 w 2764696"/>
              <a:gd name="connsiteY0" fmla="*/ 0 h 2946704"/>
              <a:gd name="connsiteX1" fmla="*/ 2764696 w 2764696"/>
              <a:gd name="connsiteY1" fmla="*/ 0 h 2946704"/>
              <a:gd name="connsiteX2" fmla="*/ 2764696 w 2764696"/>
              <a:gd name="connsiteY2" fmla="*/ 2743200 h 2946704"/>
              <a:gd name="connsiteX3" fmla="*/ 179062 w 2764696"/>
              <a:gd name="connsiteY3" fmla="*/ 2743201 h 2946704"/>
              <a:gd name="connsiteX4" fmla="*/ 9872 w 2764696"/>
              <a:gd name="connsiteY4" fmla="*/ 2568844 h 2946704"/>
              <a:gd name="connsiteX5" fmla="*/ 21496 w 2764696"/>
              <a:gd name="connsiteY5" fmla="*/ 0 h 2946704"/>
              <a:gd name="connsiteX0" fmla="*/ 11927 w 2755127"/>
              <a:gd name="connsiteY0" fmla="*/ 0 h 2946704"/>
              <a:gd name="connsiteX1" fmla="*/ 2755127 w 2755127"/>
              <a:gd name="connsiteY1" fmla="*/ 0 h 2946704"/>
              <a:gd name="connsiteX2" fmla="*/ 2755127 w 2755127"/>
              <a:gd name="connsiteY2" fmla="*/ 2743200 h 2946704"/>
              <a:gd name="connsiteX3" fmla="*/ 169493 w 2755127"/>
              <a:gd name="connsiteY3" fmla="*/ 2743201 h 2946704"/>
              <a:gd name="connsiteX4" fmla="*/ 303 w 2755127"/>
              <a:gd name="connsiteY4" fmla="*/ 2568844 h 2946704"/>
              <a:gd name="connsiteX5" fmla="*/ 11927 w 2755127"/>
              <a:gd name="connsiteY5" fmla="*/ 0 h 2946704"/>
              <a:gd name="connsiteX0" fmla="*/ 5611 w 2748811"/>
              <a:gd name="connsiteY0" fmla="*/ 0 h 2946704"/>
              <a:gd name="connsiteX1" fmla="*/ 2748811 w 2748811"/>
              <a:gd name="connsiteY1" fmla="*/ 0 h 2946704"/>
              <a:gd name="connsiteX2" fmla="*/ 2748811 w 2748811"/>
              <a:gd name="connsiteY2" fmla="*/ 2743200 h 2946704"/>
              <a:gd name="connsiteX3" fmla="*/ 163177 w 2748811"/>
              <a:gd name="connsiteY3" fmla="*/ 2743201 h 2946704"/>
              <a:gd name="connsiteX4" fmla="*/ 337 w 2748811"/>
              <a:gd name="connsiteY4" fmla="*/ 2527569 h 2946704"/>
              <a:gd name="connsiteX5" fmla="*/ 5611 w 2748811"/>
              <a:gd name="connsiteY5" fmla="*/ 0 h 2946704"/>
              <a:gd name="connsiteX0" fmla="*/ 18815 w 2762015"/>
              <a:gd name="connsiteY0" fmla="*/ 0 h 2947578"/>
              <a:gd name="connsiteX1" fmla="*/ 2762015 w 2762015"/>
              <a:gd name="connsiteY1" fmla="*/ 0 h 2947578"/>
              <a:gd name="connsiteX2" fmla="*/ 2762015 w 2762015"/>
              <a:gd name="connsiteY2" fmla="*/ 2743200 h 2947578"/>
              <a:gd name="connsiteX3" fmla="*/ 208131 w 2762015"/>
              <a:gd name="connsiteY3" fmla="*/ 2746376 h 2947578"/>
              <a:gd name="connsiteX4" fmla="*/ 13541 w 2762015"/>
              <a:gd name="connsiteY4" fmla="*/ 2527569 h 2947578"/>
              <a:gd name="connsiteX5" fmla="*/ 18815 w 2762015"/>
              <a:gd name="connsiteY5" fmla="*/ 0 h 2947578"/>
              <a:gd name="connsiteX0" fmla="*/ 5275 w 2748475"/>
              <a:gd name="connsiteY0" fmla="*/ 0 h 2947578"/>
              <a:gd name="connsiteX1" fmla="*/ 2748475 w 2748475"/>
              <a:gd name="connsiteY1" fmla="*/ 0 h 2947578"/>
              <a:gd name="connsiteX2" fmla="*/ 2748475 w 2748475"/>
              <a:gd name="connsiteY2" fmla="*/ 2743200 h 2947578"/>
              <a:gd name="connsiteX3" fmla="*/ 194591 w 2748475"/>
              <a:gd name="connsiteY3" fmla="*/ 2746376 h 2947578"/>
              <a:gd name="connsiteX4" fmla="*/ 1 w 2748475"/>
              <a:gd name="connsiteY4" fmla="*/ 2527569 h 2947578"/>
              <a:gd name="connsiteX5" fmla="*/ 5275 w 2748475"/>
              <a:gd name="connsiteY5" fmla="*/ 0 h 2947578"/>
              <a:gd name="connsiteX0" fmla="*/ 5376 w 2748576"/>
              <a:gd name="connsiteY0" fmla="*/ 0 h 2947578"/>
              <a:gd name="connsiteX1" fmla="*/ 2748576 w 2748576"/>
              <a:gd name="connsiteY1" fmla="*/ 0 h 2947578"/>
              <a:gd name="connsiteX2" fmla="*/ 2748576 w 2748576"/>
              <a:gd name="connsiteY2" fmla="*/ 2743200 h 2947578"/>
              <a:gd name="connsiteX3" fmla="*/ 194692 w 2748576"/>
              <a:gd name="connsiteY3" fmla="*/ 2746376 h 2947578"/>
              <a:gd name="connsiteX4" fmla="*/ 102 w 2748576"/>
              <a:gd name="connsiteY4" fmla="*/ 2527569 h 2947578"/>
              <a:gd name="connsiteX5" fmla="*/ 5376 w 2748576"/>
              <a:gd name="connsiteY5" fmla="*/ 0 h 2947578"/>
              <a:gd name="connsiteX0" fmla="*/ 5376 w 2748576"/>
              <a:gd name="connsiteY0" fmla="*/ 0 h 2940311"/>
              <a:gd name="connsiteX1" fmla="*/ 2748576 w 2748576"/>
              <a:gd name="connsiteY1" fmla="*/ 0 h 2940311"/>
              <a:gd name="connsiteX2" fmla="*/ 2748576 w 2748576"/>
              <a:gd name="connsiteY2" fmla="*/ 2743200 h 2940311"/>
              <a:gd name="connsiteX3" fmla="*/ 194692 w 2748576"/>
              <a:gd name="connsiteY3" fmla="*/ 2746376 h 2940311"/>
              <a:gd name="connsiteX4" fmla="*/ 102 w 2748576"/>
              <a:gd name="connsiteY4" fmla="*/ 2527569 h 2940311"/>
              <a:gd name="connsiteX5" fmla="*/ 5376 w 2748576"/>
              <a:gd name="connsiteY5" fmla="*/ 0 h 2940311"/>
              <a:gd name="connsiteX0" fmla="*/ 5376 w 2748576"/>
              <a:gd name="connsiteY0" fmla="*/ 0 h 2746376"/>
              <a:gd name="connsiteX1" fmla="*/ 2748576 w 2748576"/>
              <a:gd name="connsiteY1" fmla="*/ 0 h 2746376"/>
              <a:gd name="connsiteX2" fmla="*/ 2748576 w 2748576"/>
              <a:gd name="connsiteY2" fmla="*/ 2743200 h 2746376"/>
              <a:gd name="connsiteX3" fmla="*/ 194692 w 2748576"/>
              <a:gd name="connsiteY3" fmla="*/ 2746376 h 2746376"/>
              <a:gd name="connsiteX4" fmla="*/ 102 w 2748576"/>
              <a:gd name="connsiteY4" fmla="*/ 2527569 h 2746376"/>
              <a:gd name="connsiteX5" fmla="*/ 5376 w 2748576"/>
              <a:gd name="connsiteY5" fmla="*/ 0 h 2746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8576" h="2746376">
                <a:moveTo>
                  <a:pt x="5376" y="0"/>
                </a:moveTo>
                <a:lnTo>
                  <a:pt x="2748576" y="0"/>
                </a:lnTo>
                <a:lnTo>
                  <a:pt x="2748576" y="2743200"/>
                </a:lnTo>
                <a:cubicBezTo>
                  <a:pt x="2430894" y="2748532"/>
                  <a:pt x="476029" y="2743685"/>
                  <a:pt x="194692" y="2746376"/>
                </a:cubicBezTo>
                <a:cubicBezTo>
                  <a:pt x="76518" y="2740565"/>
                  <a:pt x="-3270" y="2636048"/>
                  <a:pt x="102" y="2527569"/>
                </a:cubicBezTo>
                <a:cubicBezTo>
                  <a:pt x="3474" y="2419090"/>
                  <a:pt x="1501" y="519194"/>
                  <a:pt x="5376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6B016DA3-DBA7-1C41-8299-3292E26E35C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76360" y="457200"/>
            <a:ext cx="2743200" cy="2514599"/>
          </a:xfrm>
          <a:prstGeom prst="rect">
            <a:avLst/>
          </a:pr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88577326-8E57-624C-8AFD-DFB614C974D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2698" y="457200"/>
            <a:ext cx="2749295" cy="3063240"/>
          </a:xfrm>
          <a:custGeom>
            <a:avLst/>
            <a:gdLst>
              <a:gd name="connsiteX0" fmla="*/ 377684 w 2743200"/>
              <a:gd name="connsiteY0" fmla="*/ 0 h 3063240"/>
              <a:gd name="connsiteX1" fmla="*/ 2743200 w 2743200"/>
              <a:gd name="connsiteY1" fmla="*/ 0 h 3063240"/>
              <a:gd name="connsiteX2" fmla="*/ 2743200 w 2743200"/>
              <a:gd name="connsiteY2" fmla="*/ 0 h 3063240"/>
              <a:gd name="connsiteX3" fmla="*/ 2743200 w 2743200"/>
              <a:gd name="connsiteY3" fmla="*/ 2685556 h 3063240"/>
              <a:gd name="connsiteX4" fmla="*/ 2365516 w 2743200"/>
              <a:gd name="connsiteY4" fmla="*/ 3063240 h 3063240"/>
              <a:gd name="connsiteX5" fmla="*/ 0 w 2743200"/>
              <a:gd name="connsiteY5" fmla="*/ 3063240 h 3063240"/>
              <a:gd name="connsiteX6" fmla="*/ 0 w 2743200"/>
              <a:gd name="connsiteY6" fmla="*/ 3063240 h 3063240"/>
              <a:gd name="connsiteX7" fmla="*/ 0 w 2743200"/>
              <a:gd name="connsiteY7" fmla="*/ 377684 h 3063240"/>
              <a:gd name="connsiteX8" fmla="*/ 377684 w 2743200"/>
              <a:gd name="connsiteY8" fmla="*/ 0 h 3063240"/>
              <a:gd name="connsiteX0" fmla="*/ 377684 w 2821480"/>
              <a:gd name="connsiteY0" fmla="*/ 0 h 3063240"/>
              <a:gd name="connsiteX1" fmla="*/ 2743200 w 2821480"/>
              <a:gd name="connsiteY1" fmla="*/ 0 h 3063240"/>
              <a:gd name="connsiteX2" fmla="*/ 2743200 w 2821480"/>
              <a:gd name="connsiteY2" fmla="*/ 0 h 3063240"/>
              <a:gd name="connsiteX3" fmla="*/ 2743200 w 2821480"/>
              <a:gd name="connsiteY3" fmla="*/ 2685556 h 3063240"/>
              <a:gd name="connsiteX4" fmla="*/ 2723325 w 2821480"/>
              <a:gd name="connsiteY4" fmla="*/ 3053301 h 3063240"/>
              <a:gd name="connsiteX5" fmla="*/ 0 w 2821480"/>
              <a:gd name="connsiteY5" fmla="*/ 3063240 h 3063240"/>
              <a:gd name="connsiteX6" fmla="*/ 0 w 2821480"/>
              <a:gd name="connsiteY6" fmla="*/ 3063240 h 3063240"/>
              <a:gd name="connsiteX7" fmla="*/ 0 w 2821480"/>
              <a:gd name="connsiteY7" fmla="*/ 377684 h 3063240"/>
              <a:gd name="connsiteX8" fmla="*/ 377684 w 2821480"/>
              <a:gd name="connsiteY8" fmla="*/ 0 h 3063240"/>
              <a:gd name="connsiteX0" fmla="*/ 377684 w 2743200"/>
              <a:gd name="connsiteY0" fmla="*/ 0 h 3063240"/>
              <a:gd name="connsiteX1" fmla="*/ 2743200 w 2743200"/>
              <a:gd name="connsiteY1" fmla="*/ 0 h 3063240"/>
              <a:gd name="connsiteX2" fmla="*/ 2743200 w 2743200"/>
              <a:gd name="connsiteY2" fmla="*/ 0 h 3063240"/>
              <a:gd name="connsiteX3" fmla="*/ 2743200 w 2743200"/>
              <a:gd name="connsiteY3" fmla="*/ 2685556 h 3063240"/>
              <a:gd name="connsiteX4" fmla="*/ 2723325 w 2743200"/>
              <a:gd name="connsiteY4" fmla="*/ 3053301 h 3063240"/>
              <a:gd name="connsiteX5" fmla="*/ 0 w 2743200"/>
              <a:gd name="connsiteY5" fmla="*/ 3063240 h 3063240"/>
              <a:gd name="connsiteX6" fmla="*/ 0 w 2743200"/>
              <a:gd name="connsiteY6" fmla="*/ 3063240 h 3063240"/>
              <a:gd name="connsiteX7" fmla="*/ 0 w 2743200"/>
              <a:gd name="connsiteY7" fmla="*/ 377684 h 3063240"/>
              <a:gd name="connsiteX8" fmla="*/ 377684 w 2743200"/>
              <a:gd name="connsiteY8" fmla="*/ 0 h 3063240"/>
              <a:gd name="connsiteX0" fmla="*/ 377684 w 2745994"/>
              <a:gd name="connsiteY0" fmla="*/ 0 h 3063240"/>
              <a:gd name="connsiteX1" fmla="*/ 2743200 w 2745994"/>
              <a:gd name="connsiteY1" fmla="*/ 0 h 3063240"/>
              <a:gd name="connsiteX2" fmla="*/ 2743200 w 2745994"/>
              <a:gd name="connsiteY2" fmla="*/ 0 h 3063240"/>
              <a:gd name="connsiteX3" fmla="*/ 2743200 w 2745994"/>
              <a:gd name="connsiteY3" fmla="*/ 2685556 h 3063240"/>
              <a:gd name="connsiteX4" fmla="*/ 2742698 w 2745994"/>
              <a:gd name="connsiteY4" fmla="*/ 3057175 h 3063240"/>
              <a:gd name="connsiteX5" fmla="*/ 0 w 2745994"/>
              <a:gd name="connsiteY5" fmla="*/ 3063240 h 3063240"/>
              <a:gd name="connsiteX6" fmla="*/ 0 w 2745994"/>
              <a:gd name="connsiteY6" fmla="*/ 3063240 h 3063240"/>
              <a:gd name="connsiteX7" fmla="*/ 0 w 2745994"/>
              <a:gd name="connsiteY7" fmla="*/ 377684 h 3063240"/>
              <a:gd name="connsiteX8" fmla="*/ 377684 w 2745994"/>
              <a:gd name="connsiteY8" fmla="*/ 0 h 3063240"/>
              <a:gd name="connsiteX0" fmla="*/ 318264 w 2745994"/>
              <a:gd name="connsiteY0" fmla="*/ 3301 h 3063240"/>
              <a:gd name="connsiteX1" fmla="*/ 2743200 w 2745994"/>
              <a:gd name="connsiteY1" fmla="*/ 0 h 3063240"/>
              <a:gd name="connsiteX2" fmla="*/ 2743200 w 2745994"/>
              <a:gd name="connsiteY2" fmla="*/ 0 h 3063240"/>
              <a:gd name="connsiteX3" fmla="*/ 2743200 w 2745994"/>
              <a:gd name="connsiteY3" fmla="*/ 2685556 h 3063240"/>
              <a:gd name="connsiteX4" fmla="*/ 2742698 w 2745994"/>
              <a:gd name="connsiteY4" fmla="*/ 3057175 h 3063240"/>
              <a:gd name="connsiteX5" fmla="*/ 0 w 2745994"/>
              <a:gd name="connsiteY5" fmla="*/ 3063240 h 3063240"/>
              <a:gd name="connsiteX6" fmla="*/ 0 w 2745994"/>
              <a:gd name="connsiteY6" fmla="*/ 3063240 h 3063240"/>
              <a:gd name="connsiteX7" fmla="*/ 0 w 2745994"/>
              <a:gd name="connsiteY7" fmla="*/ 377684 h 3063240"/>
              <a:gd name="connsiteX8" fmla="*/ 318264 w 2745994"/>
              <a:gd name="connsiteY8" fmla="*/ 3301 h 3063240"/>
              <a:gd name="connsiteX0" fmla="*/ 321565 w 2749295"/>
              <a:gd name="connsiteY0" fmla="*/ 3301 h 3063240"/>
              <a:gd name="connsiteX1" fmla="*/ 2746501 w 2749295"/>
              <a:gd name="connsiteY1" fmla="*/ 0 h 3063240"/>
              <a:gd name="connsiteX2" fmla="*/ 2746501 w 2749295"/>
              <a:gd name="connsiteY2" fmla="*/ 0 h 3063240"/>
              <a:gd name="connsiteX3" fmla="*/ 2746501 w 2749295"/>
              <a:gd name="connsiteY3" fmla="*/ 2685556 h 3063240"/>
              <a:gd name="connsiteX4" fmla="*/ 2745999 w 2749295"/>
              <a:gd name="connsiteY4" fmla="*/ 3057175 h 3063240"/>
              <a:gd name="connsiteX5" fmla="*/ 3301 w 2749295"/>
              <a:gd name="connsiteY5" fmla="*/ 3063240 h 3063240"/>
              <a:gd name="connsiteX6" fmla="*/ 3301 w 2749295"/>
              <a:gd name="connsiteY6" fmla="*/ 3063240 h 3063240"/>
              <a:gd name="connsiteX7" fmla="*/ 0 w 2749295"/>
              <a:gd name="connsiteY7" fmla="*/ 331469 h 3063240"/>
              <a:gd name="connsiteX8" fmla="*/ 321565 w 2749295"/>
              <a:gd name="connsiteY8" fmla="*/ 3301 h 3063240"/>
              <a:gd name="connsiteX0" fmla="*/ 321565 w 2749295"/>
              <a:gd name="connsiteY0" fmla="*/ 3301 h 3063240"/>
              <a:gd name="connsiteX1" fmla="*/ 2746501 w 2749295"/>
              <a:gd name="connsiteY1" fmla="*/ 0 h 3063240"/>
              <a:gd name="connsiteX2" fmla="*/ 2746501 w 2749295"/>
              <a:gd name="connsiteY2" fmla="*/ 0 h 3063240"/>
              <a:gd name="connsiteX3" fmla="*/ 2746501 w 2749295"/>
              <a:gd name="connsiteY3" fmla="*/ 2685556 h 3063240"/>
              <a:gd name="connsiteX4" fmla="*/ 2745999 w 2749295"/>
              <a:gd name="connsiteY4" fmla="*/ 3057175 h 3063240"/>
              <a:gd name="connsiteX5" fmla="*/ 3301 w 2749295"/>
              <a:gd name="connsiteY5" fmla="*/ 3063240 h 3063240"/>
              <a:gd name="connsiteX6" fmla="*/ 3301 w 2749295"/>
              <a:gd name="connsiteY6" fmla="*/ 3063240 h 3063240"/>
              <a:gd name="connsiteX7" fmla="*/ 0 w 2749295"/>
              <a:gd name="connsiteY7" fmla="*/ 314963 h 3063240"/>
              <a:gd name="connsiteX8" fmla="*/ 321565 w 2749295"/>
              <a:gd name="connsiteY8" fmla="*/ 3301 h 3063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49295" h="3063240">
                <a:moveTo>
                  <a:pt x="321565" y="3301"/>
                </a:moveTo>
                <a:lnTo>
                  <a:pt x="2746501" y="0"/>
                </a:lnTo>
                <a:lnTo>
                  <a:pt x="2746501" y="0"/>
                </a:lnTo>
                <a:lnTo>
                  <a:pt x="2746501" y="2685556"/>
                </a:lnTo>
                <a:cubicBezTo>
                  <a:pt x="2746501" y="2894145"/>
                  <a:pt x="2753110" y="3061050"/>
                  <a:pt x="2745999" y="3057175"/>
                </a:cubicBezTo>
                <a:cubicBezTo>
                  <a:pt x="2738888" y="3053300"/>
                  <a:pt x="911076" y="3059927"/>
                  <a:pt x="3301" y="3063240"/>
                </a:cubicBezTo>
                <a:lnTo>
                  <a:pt x="3301" y="3063240"/>
                </a:lnTo>
                <a:cubicBezTo>
                  <a:pt x="2201" y="2152650"/>
                  <a:pt x="1100" y="1225553"/>
                  <a:pt x="0" y="314963"/>
                </a:cubicBezTo>
                <a:cubicBezTo>
                  <a:pt x="0" y="106374"/>
                  <a:pt x="112976" y="3301"/>
                  <a:pt x="321565" y="3301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65CB4C76-4971-1948-BAE9-D05A032525D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975814" y="3108960"/>
            <a:ext cx="2743746" cy="3291840"/>
          </a:xfrm>
          <a:custGeom>
            <a:avLst/>
            <a:gdLst>
              <a:gd name="connsiteX0" fmla="*/ 232349 w 2743200"/>
              <a:gd name="connsiteY0" fmla="*/ 0 h 3291840"/>
              <a:gd name="connsiteX1" fmla="*/ 2743200 w 2743200"/>
              <a:gd name="connsiteY1" fmla="*/ 0 h 3291840"/>
              <a:gd name="connsiteX2" fmla="*/ 2743200 w 2743200"/>
              <a:gd name="connsiteY2" fmla="*/ 0 h 3291840"/>
              <a:gd name="connsiteX3" fmla="*/ 2743200 w 2743200"/>
              <a:gd name="connsiteY3" fmla="*/ 3059491 h 3291840"/>
              <a:gd name="connsiteX4" fmla="*/ 2510851 w 2743200"/>
              <a:gd name="connsiteY4" fmla="*/ 3291840 h 3291840"/>
              <a:gd name="connsiteX5" fmla="*/ 0 w 2743200"/>
              <a:gd name="connsiteY5" fmla="*/ 3291840 h 3291840"/>
              <a:gd name="connsiteX6" fmla="*/ 0 w 2743200"/>
              <a:gd name="connsiteY6" fmla="*/ 3291840 h 3291840"/>
              <a:gd name="connsiteX7" fmla="*/ 0 w 2743200"/>
              <a:gd name="connsiteY7" fmla="*/ 232349 h 3291840"/>
              <a:gd name="connsiteX8" fmla="*/ 232349 w 2743200"/>
              <a:gd name="connsiteY8" fmla="*/ 0 h 3291840"/>
              <a:gd name="connsiteX0" fmla="*/ 59043 w 2794746"/>
              <a:gd name="connsiteY0" fmla="*/ 3747 h 3291840"/>
              <a:gd name="connsiteX1" fmla="*/ 2794746 w 2794746"/>
              <a:gd name="connsiteY1" fmla="*/ 0 h 3291840"/>
              <a:gd name="connsiteX2" fmla="*/ 2794746 w 2794746"/>
              <a:gd name="connsiteY2" fmla="*/ 0 h 3291840"/>
              <a:gd name="connsiteX3" fmla="*/ 2794746 w 2794746"/>
              <a:gd name="connsiteY3" fmla="*/ 3059491 h 3291840"/>
              <a:gd name="connsiteX4" fmla="*/ 2562397 w 2794746"/>
              <a:gd name="connsiteY4" fmla="*/ 3291840 h 3291840"/>
              <a:gd name="connsiteX5" fmla="*/ 51546 w 2794746"/>
              <a:gd name="connsiteY5" fmla="*/ 3291840 h 3291840"/>
              <a:gd name="connsiteX6" fmla="*/ 51546 w 2794746"/>
              <a:gd name="connsiteY6" fmla="*/ 3291840 h 3291840"/>
              <a:gd name="connsiteX7" fmla="*/ 51546 w 2794746"/>
              <a:gd name="connsiteY7" fmla="*/ 232349 h 3291840"/>
              <a:gd name="connsiteX8" fmla="*/ 59043 w 2794746"/>
              <a:gd name="connsiteY8" fmla="*/ 3747 h 3291840"/>
              <a:gd name="connsiteX0" fmla="*/ 7497 w 2743200"/>
              <a:gd name="connsiteY0" fmla="*/ 3747 h 3291840"/>
              <a:gd name="connsiteX1" fmla="*/ 2743200 w 2743200"/>
              <a:gd name="connsiteY1" fmla="*/ 0 h 3291840"/>
              <a:gd name="connsiteX2" fmla="*/ 2743200 w 2743200"/>
              <a:gd name="connsiteY2" fmla="*/ 0 h 3291840"/>
              <a:gd name="connsiteX3" fmla="*/ 2743200 w 2743200"/>
              <a:gd name="connsiteY3" fmla="*/ 3059491 h 3291840"/>
              <a:gd name="connsiteX4" fmla="*/ 2510851 w 2743200"/>
              <a:gd name="connsiteY4" fmla="*/ 3291840 h 3291840"/>
              <a:gd name="connsiteX5" fmla="*/ 0 w 2743200"/>
              <a:gd name="connsiteY5" fmla="*/ 3291840 h 3291840"/>
              <a:gd name="connsiteX6" fmla="*/ 0 w 2743200"/>
              <a:gd name="connsiteY6" fmla="*/ 3291840 h 3291840"/>
              <a:gd name="connsiteX7" fmla="*/ 0 w 2743200"/>
              <a:gd name="connsiteY7" fmla="*/ 232349 h 3291840"/>
              <a:gd name="connsiteX8" fmla="*/ 7497 w 2743200"/>
              <a:gd name="connsiteY8" fmla="*/ 3747 h 3291840"/>
              <a:gd name="connsiteX0" fmla="*/ 68 w 2750761"/>
              <a:gd name="connsiteY0" fmla="*/ 7495 h 3291840"/>
              <a:gd name="connsiteX1" fmla="*/ 2750761 w 2750761"/>
              <a:gd name="connsiteY1" fmla="*/ 0 h 3291840"/>
              <a:gd name="connsiteX2" fmla="*/ 2750761 w 2750761"/>
              <a:gd name="connsiteY2" fmla="*/ 0 h 3291840"/>
              <a:gd name="connsiteX3" fmla="*/ 2750761 w 2750761"/>
              <a:gd name="connsiteY3" fmla="*/ 3059491 h 3291840"/>
              <a:gd name="connsiteX4" fmla="*/ 2518412 w 2750761"/>
              <a:gd name="connsiteY4" fmla="*/ 3291840 h 3291840"/>
              <a:gd name="connsiteX5" fmla="*/ 7561 w 2750761"/>
              <a:gd name="connsiteY5" fmla="*/ 3291840 h 3291840"/>
              <a:gd name="connsiteX6" fmla="*/ 7561 w 2750761"/>
              <a:gd name="connsiteY6" fmla="*/ 3291840 h 3291840"/>
              <a:gd name="connsiteX7" fmla="*/ 7561 w 2750761"/>
              <a:gd name="connsiteY7" fmla="*/ 232349 h 3291840"/>
              <a:gd name="connsiteX8" fmla="*/ 68 w 2750761"/>
              <a:gd name="connsiteY8" fmla="*/ 7495 h 3291840"/>
              <a:gd name="connsiteX0" fmla="*/ 0 w 2750693"/>
              <a:gd name="connsiteY0" fmla="*/ 7495 h 3291840"/>
              <a:gd name="connsiteX1" fmla="*/ 2750693 w 2750693"/>
              <a:gd name="connsiteY1" fmla="*/ 0 h 3291840"/>
              <a:gd name="connsiteX2" fmla="*/ 2750693 w 2750693"/>
              <a:gd name="connsiteY2" fmla="*/ 0 h 3291840"/>
              <a:gd name="connsiteX3" fmla="*/ 2750693 w 2750693"/>
              <a:gd name="connsiteY3" fmla="*/ 3059491 h 3291840"/>
              <a:gd name="connsiteX4" fmla="*/ 2518344 w 2750693"/>
              <a:gd name="connsiteY4" fmla="*/ 3291840 h 3291840"/>
              <a:gd name="connsiteX5" fmla="*/ 7493 w 2750693"/>
              <a:gd name="connsiteY5" fmla="*/ 3291840 h 3291840"/>
              <a:gd name="connsiteX6" fmla="*/ 7493 w 2750693"/>
              <a:gd name="connsiteY6" fmla="*/ 3291840 h 3291840"/>
              <a:gd name="connsiteX7" fmla="*/ 0 w 2750693"/>
              <a:gd name="connsiteY7" fmla="*/ 7495 h 3291840"/>
              <a:gd name="connsiteX0" fmla="*/ 2578 w 2743746"/>
              <a:gd name="connsiteY0" fmla="*/ 4320 h 3291840"/>
              <a:gd name="connsiteX1" fmla="*/ 2743746 w 2743746"/>
              <a:gd name="connsiteY1" fmla="*/ 0 h 3291840"/>
              <a:gd name="connsiteX2" fmla="*/ 2743746 w 2743746"/>
              <a:gd name="connsiteY2" fmla="*/ 0 h 3291840"/>
              <a:gd name="connsiteX3" fmla="*/ 2743746 w 2743746"/>
              <a:gd name="connsiteY3" fmla="*/ 3059491 h 3291840"/>
              <a:gd name="connsiteX4" fmla="*/ 2511397 w 2743746"/>
              <a:gd name="connsiteY4" fmla="*/ 3291840 h 3291840"/>
              <a:gd name="connsiteX5" fmla="*/ 546 w 2743746"/>
              <a:gd name="connsiteY5" fmla="*/ 3291840 h 3291840"/>
              <a:gd name="connsiteX6" fmla="*/ 546 w 2743746"/>
              <a:gd name="connsiteY6" fmla="*/ 3291840 h 3291840"/>
              <a:gd name="connsiteX7" fmla="*/ 2578 w 2743746"/>
              <a:gd name="connsiteY7" fmla="*/ 4320 h 3291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43746" h="3291840">
                <a:moveTo>
                  <a:pt x="2578" y="4320"/>
                </a:moveTo>
                <a:lnTo>
                  <a:pt x="2743746" y="0"/>
                </a:lnTo>
                <a:lnTo>
                  <a:pt x="2743746" y="0"/>
                </a:lnTo>
                <a:lnTo>
                  <a:pt x="2743746" y="3059491"/>
                </a:lnTo>
                <a:cubicBezTo>
                  <a:pt x="2743746" y="3187814"/>
                  <a:pt x="2639720" y="3291840"/>
                  <a:pt x="2511397" y="3291840"/>
                </a:cubicBezTo>
                <a:lnTo>
                  <a:pt x="546" y="3291840"/>
                </a:lnTo>
                <a:lnTo>
                  <a:pt x="546" y="3291840"/>
                </a:lnTo>
                <a:cubicBezTo>
                  <a:pt x="-1952" y="2197058"/>
                  <a:pt x="5076" y="1099102"/>
                  <a:pt x="2578" y="432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DF44E331-A46F-418D-9D7E-A5E1C5DD23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3075" y="1289010"/>
            <a:ext cx="5165725" cy="5111790"/>
          </a:xfrm>
          <a:prstGeom prst="rect">
            <a:avLst/>
          </a:prstGeom>
        </p:spPr>
        <p:txBody>
          <a:bodyPr anchor="ctr" anchorCtr="0"/>
          <a:lstStyle>
            <a:lvl1pPr marL="285750" indent="-285750">
              <a:buClr>
                <a:schemeClr val="tx1"/>
              </a:buClr>
              <a:buFontTx/>
              <a:buBlip>
                <a:blip r:embed="rId3"/>
              </a:buBlip>
              <a:defRPr sz="200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6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674C62-10A3-0F47-ADDB-FD34F1BBDD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65927"/>
            <a:ext cx="5165725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979A9B-1009-BE4D-B89C-EBFA57F7ECB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389443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3A493F-BF4F-4124-8E14-8EDC3C4F5746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811875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 gol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ld Bar">
            <a:extLst>
              <a:ext uri="{FF2B5EF4-FFF2-40B4-BE49-F238E27FC236}">
                <a16:creationId xmlns:a16="http://schemas.microsoft.com/office/drawing/2014/main" id="{C4C58F74-946F-46D3-A965-FD956A9F1015}"/>
              </a:ext>
            </a:extLst>
          </p:cNvPr>
          <p:cNvSpPr/>
          <p:nvPr/>
        </p:nvSpPr>
        <p:spPr>
          <a:xfrm>
            <a:off x="0" y="0"/>
            <a:ext cx="12192000" cy="182880"/>
          </a:xfrm>
          <a:prstGeom prst="rect">
            <a:avLst/>
          </a:prstGeom>
          <a:solidFill>
            <a:srgbClr val="FFB7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4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5BE6DB5E-0E37-4144-BDF7-0F5BBEDF68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88446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 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brow">
            <a:extLst>
              <a:ext uri="{FF2B5EF4-FFF2-40B4-BE49-F238E27FC236}">
                <a16:creationId xmlns:a16="http://schemas.microsoft.com/office/drawing/2014/main" id="{48D18D2C-3CAC-4960-81EF-43B50030760B}"/>
              </a:ext>
            </a:extLst>
          </p:cNvPr>
          <p:cNvGrpSpPr/>
          <p:nvPr/>
        </p:nvGrpSpPr>
        <p:grpSpPr>
          <a:xfrm>
            <a:off x="10027920" y="228600"/>
            <a:ext cx="1828800" cy="914400"/>
            <a:chOff x="10027920" y="2606040"/>
            <a:chExt cx="1828800" cy="914400"/>
          </a:xfrm>
          <a:solidFill>
            <a:schemeClr val="accent1"/>
          </a:solidFill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72916CA-482F-410B-8F5F-999B8A5606B0}"/>
                </a:ext>
              </a:extLst>
            </p:cNvPr>
            <p:cNvSpPr/>
            <p:nvPr/>
          </p:nvSpPr>
          <p:spPr>
            <a:xfrm>
              <a:off x="10027920" y="2606040"/>
              <a:ext cx="1828800" cy="1828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12DA3C7-0514-4C41-B1CC-10A18B6A7810}"/>
                </a:ext>
              </a:extLst>
            </p:cNvPr>
            <p:cNvSpPr/>
            <p:nvPr/>
          </p:nvSpPr>
          <p:spPr>
            <a:xfrm>
              <a:off x="11673840" y="2606040"/>
              <a:ext cx="182880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</p:grpSp>
      <p:sp>
        <p:nvSpPr>
          <p:cNvPr id="5" name="Title">
            <a:extLst>
              <a:ext uri="{FF2B5EF4-FFF2-40B4-BE49-F238E27FC236}">
                <a16:creationId xmlns:a16="http://schemas.microsoft.com/office/drawing/2014/main" id="{6B5B6BBA-FD45-41F6-9564-1F7EBBB74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295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s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5486400" cy="6400799"/>
          </a:xfrm>
        </p:spPr>
        <p:txBody>
          <a:bodyPr anchor="ctr" anchorCtr="1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5154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aphic 3">
            <a:extLst>
              <a:ext uri="{FF2B5EF4-FFF2-40B4-BE49-F238E27FC236}">
                <a16:creationId xmlns:a16="http://schemas.microsoft.com/office/drawing/2014/main" id="{0A1FDE5F-F5CC-4845-944B-48A25DC07EF0}"/>
              </a:ext>
            </a:extLst>
          </p:cNvPr>
          <p:cNvSpPr>
            <a:spLocks/>
          </p:cNvSpPr>
          <p:nvPr/>
        </p:nvSpPr>
        <p:spPr>
          <a:xfrm>
            <a:off x="0" y="5212080"/>
            <a:ext cx="12188952" cy="164592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5486400" cy="6400799"/>
          </a:xfrm>
        </p:spPr>
        <p:txBody>
          <a:bodyPr anchor="ctr" anchorCtr="1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5599F8E-9667-459C-A7EF-093C0C24B0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80698" y="0"/>
            <a:ext cx="3921752" cy="65277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76676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2FAF2E-865B-8144-BE35-713D54848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572000"/>
            <a:ext cx="11522076" cy="1097280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chemeClr val="accent1"/>
                </a:solidFill>
                <a:latin typeface="Speedee" panose="020B06030305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1785AA-E155-4C3C-91CA-8A2106DE8A99}"/>
              </a:ext>
            </a:extLst>
          </p:cNvPr>
          <p:cNvSpPr/>
          <p:nvPr/>
        </p:nvSpPr>
        <p:spPr>
          <a:xfrm>
            <a:off x="4595760" y="1536391"/>
            <a:ext cx="3000480" cy="2458224"/>
          </a:xfrm>
          <a:prstGeom prst="rect">
            <a:avLst/>
          </a:prstGeom>
          <a:noFill/>
          <a:ln w="762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7B96EA0D-E6D6-4B4A-A2C2-9E820A52F511}"/>
              </a:ext>
            </a:extLst>
          </p:cNvPr>
          <p:cNvSpPr>
            <a:spLocks noChangeAspect="1"/>
          </p:cNvSpPr>
          <p:nvPr/>
        </p:nvSpPr>
        <p:spPr>
          <a:xfrm>
            <a:off x="5233861" y="2011123"/>
            <a:ext cx="1724278" cy="1508760"/>
          </a:xfrm>
          <a:custGeom>
            <a:avLst/>
            <a:gdLst>
              <a:gd name="connsiteX0" fmla="*/ 6578874 w 9147911"/>
              <a:gd name="connsiteY0" fmla="*/ 571751 h 8004510"/>
              <a:gd name="connsiteX1" fmla="*/ 8008235 w 9147911"/>
              <a:gd name="connsiteY1" fmla="*/ 8008322 h 8004510"/>
              <a:gd name="connsiteX2" fmla="*/ 9151723 w 9147911"/>
              <a:gd name="connsiteY2" fmla="*/ 8008322 h 8004510"/>
              <a:gd name="connsiteX3" fmla="*/ 6578874 w 9147911"/>
              <a:gd name="connsiteY3" fmla="*/ 0 h 8004510"/>
              <a:gd name="connsiteX4" fmla="*/ 4577768 w 9147911"/>
              <a:gd name="connsiteY4" fmla="*/ 2763462 h 8004510"/>
              <a:gd name="connsiteX5" fmla="*/ 2572850 w 9147911"/>
              <a:gd name="connsiteY5" fmla="*/ 0 h 8004510"/>
              <a:gd name="connsiteX6" fmla="*/ 0 w 9147911"/>
              <a:gd name="connsiteY6" fmla="*/ 8008322 h 8004510"/>
              <a:gd name="connsiteX7" fmla="*/ 1143489 w 9147911"/>
              <a:gd name="connsiteY7" fmla="*/ 8008322 h 8004510"/>
              <a:gd name="connsiteX8" fmla="*/ 2572850 w 9147911"/>
              <a:gd name="connsiteY8" fmla="*/ 571751 h 8004510"/>
              <a:gd name="connsiteX9" fmla="*/ 4002211 w 9147911"/>
              <a:gd name="connsiteY9" fmla="*/ 7436571 h 8004510"/>
              <a:gd name="connsiteX10" fmla="*/ 5145700 w 9147911"/>
              <a:gd name="connsiteY10" fmla="*/ 7436571 h 8004510"/>
              <a:gd name="connsiteX11" fmla="*/ 6578874 w 9147911"/>
              <a:gd name="connsiteY11" fmla="*/ 571751 h 8004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911" h="8004510">
                <a:moveTo>
                  <a:pt x="6578874" y="571751"/>
                </a:moveTo>
                <a:cubicBezTo>
                  <a:pt x="7367881" y="571751"/>
                  <a:pt x="8008235" y="3903152"/>
                  <a:pt x="8008235" y="8008322"/>
                </a:cubicBezTo>
                <a:lnTo>
                  <a:pt x="9151723" y="8008322"/>
                </a:lnTo>
                <a:cubicBezTo>
                  <a:pt x="9155535" y="3586783"/>
                  <a:pt x="8000611" y="0"/>
                  <a:pt x="6578874" y="0"/>
                </a:cubicBezTo>
                <a:cubicBezTo>
                  <a:pt x="5770808" y="0"/>
                  <a:pt x="5046598" y="1078703"/>
                  <a:pt x="4577768" y="2763462"/>
                </a:cubicBezTo>
                <a:cubicBezTo>
                  <a:pt x="4105125" y="1078703"/>
                  <a:pt x="3384727" y="0"/>
                  <a:pt x="2572850" y="0"/>
                </a:cubicBezTo>
                <a:cubicBezTo>
                  <a:pt x="1151112" y="0"/>
                  <a:pt x="0" y="3586783"/>
                  <a:pt x="0" y="8008322"/>
                </a:cubicBezTo>
                <a:lnTo>
                  <a:pt x="1143489" y="8008322"/>
                </a:lnTo>
                <a:cubicBezTo>
                  <a:pt x="1143489" y="3903152"/>
                  <a:pt x="1783843" y="571751"/>
                  <a:pt x="2572850" y="571751"/>
                </a:cubicBezTo>
                <a:cubicBezTo>
                  <a:pt x="3361857" y="571751"/>
                  <a:pt x="4002211" y="3643958"/>
                  <a:pt x="4002211" y="7436571"/>
                </a:cubicBezTo>
                <a:lnTo>
                  <a:pt x="5145700" y="7436571"/>
                </a:lnTo>
                <a:cubicBezTo>
                  <a:pt x="5149512" y="3647770"/>
                  <a:pt x="5789866" y="571751"/>
                  <a:pt x="6578874" y="571751"/>
                </a:cubicBezTo>
              </a:path>
            </a:pathLst>
          </a:custGeom>
          <a:solidFill>
            <a:schemeClr val="accent1"/>
          </a:solidFill>
          <a:ln w="2437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01445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55520" y="2514600"/>
            <a:ext cx="7680960" cy="1828800"/>
          </a:xfrm>
        </p:spPr>
        <p:txBody>
          <a:bodyPr lIns="91440" r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0573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Line Title Slide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810381AA-6F3B-434D-8422-E9ECE5FC5D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83947" y="3722289"/>
            <a:ext cx="5156080" cy="1238249"/>
          </a:xfrm>
          <a:prstGeom prst="rect">
            <a:avLst/>
          </a:prstGeom>
        </p:spPr>
        <p:txBody>
          <a:bodyPr lIns="91440" tIns="182880" rIns="228600" bIns="182880" anchor="t" anchorCtr="0"/>
          <a:lstStyle>
            <a:lvl1pPr marL="0" indent="0" algn="r">
              <a:spcBef>
                <a:spcPts val="600"/>
              </a:spcBef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spcBef>
                <a:spcPts val="0"/>
              </a:spcBef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D3F72533-155C-ED47-A31B-01FFA5B7A63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731" r="-1"/>
          <a:stretch/>
        </p:blipFill>
        <p:spPr>
          <a:xfrm>
            <a:off x="0" y="0"/>
            <a:ext cx="5085448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7D27C231-BF81-0143-B523-B94639D66C3B}"/>
              </a:ext>
            </a:extLst>
          </p:cNvPr>
          <p:cNvGrpSpPr/>
          <p:nvPr/>
        </p:nvGrpSpPr>
        <p:grpSpPr>
          <a:xfrm>
            <a:off x="9648837" y="2597502"/>
            <a:ext cx="1887843" cy="945130"/>
            <a:chOff x="4202641" y="1997103"/>
            <a:chExt cx="1887843" cy="945130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B616C1E7-B94E-D64B-B001-0EE15BE6C052}"/>
                </a:ext>
              </a:extLst>
            </p:cNvPr>
            <p:cNvCxnSpPr>
              <a:cxnSpLocks/>
            </p:cNvCxnSpPr>
            <p:nvPr/>
          </p:nvCxnSpPr>
          <p:spPr>
            <a:xfrm>
              <a:off x="4202641" y="2081182"/>
              <a:ext cx="1887843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E8E8C3E-5B41-0441-AF7A-51F1B9F7FF96}"/>
                </a:ext>
              </a:extLst>
            </p:cNvPr>
            <p:cNvCxnSpPr>
              <a:cxnSpLocks/>
            </p:cNvCxnSpPr>
            <p:nvPr/>
          </p:nvCxnSpPr>
          <p:spPr>
            <a:xfrm>
              <a:off x="6004560" y="1997103"/>
              <a:ext cx="0" cy="94513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Picture 15" descr="GT_Logo.em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2020" y="303069"/>
            <a:ext cx="2448056" cy="71189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82821" y="3057557"/>
            <a:ext cx="5153032" cy="598890"/>
          </a:xfrm>
        </p:spPr>
        <p:txBody>
          <a:bodyPr lIns="182880" tIns="0" rIns="228600" anchor="b"/>
          <a:lstStyle>
            <a:lvl1pPr marL="0" indent="0" algn="r">
              <a:tabLst/>
              <a:defRPr sz="4400">
                <a:solidFill>
                  <a:schemeClr val="tx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Title go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60366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67">
          <p15:clr>
            <a:srgbClr val="FBAE40"/>
          </p15:clr>
        </p15:guide>
        <p15:guide id="2" orient="horz" pos="223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Line Title Slide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82821" y="3657600"/>
            <a:ext cx="5153032" cy="598890"/>
          </a:xfrm>
        </p:spPr>
        <p:txBody>
          <a:bodyPr lIns="182880" tIns="0" rIns="228600" anchor="b"/>
          <a:lstStyle>
            <a:lvl1pPr marL="0" indent="0" algn="r">
              <a:tabLst/>
              <a:defRPr sz="4400">
                <a:solidFill>
                  <a:schemeClr val="tx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A two line title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10381AA-6F3B-434D-8422-E9ECE5FC5D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82821" y="4293871"/>
            <a:ext cx="5156080" cy="1238249"/>
          </a:xfrm>
          <a:prstGeom prst="rect">
            <a:avLst/>
          </a:prstGeom>
        </p:spPr>
        <p:txBody>
          <a:bodyPr lIns="91440" tIns="182880" rIns="228600" bIns="182880" anchor="t" anchorCtr="0"/>
          <a:lstStyle>
            <a:lvl1pPr marL="0" indent="0" algn="r">
              <a:spcBef>
                <a:spcPts val="600"/>
              </a:spcBef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spcBef>
                <a:spcPts val="0"/>
              </a:spcBef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39CEB44-9E89-DC41-BCB7-E03D5FB4DA61}"/>
              </a:ext>
            </a:extLst>
          </p:cNvPr>
          <p:cNvGrpSpPr/>
          <p:nvPr/>
        </p:nvGrpSpPr>
        <p:grpSpPr>
          <a:xfrm>
            <a:off x="9648837" y="2597502"/>
            <a:ext cx="1887843" cy="945130"/>
            <a:chOff x="4202641" y="1997103"/>
            <a:chExt cx="1887843" cy="94513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E7667E4-8081-BA40-BD0C-76A8F4228560}"/>
                </a:ext>
              </a:extLst>
            </p:cNvPr>
            <p:cNvCxnSpPr>
              <a:cxnSpLocks/>
            </p:cNvCxnSpPr>
            <p:nvPr/>
          </p:nvCxnSpPr>
          <p:spPr>
            <a:xfrm>
              <a:off x="4202641" y="2081182"/>
              <a:ext cx="1887843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108A31E2-D290-1B42-9DA1-78E163F63DF0}"/>
                </a:ext>
              </a:extLst>
            </p:cNvPr>
            <p:cNvCxnSpPr>
              <a:cxnSpLocks/>
            </p:cNvCxnSpPr>
            <p:nvPr/>
          </p:nvCxnSpPr>
          <p:spPr>
            <a:xfrm>
              <a:off x="6004560" y="1997103"/>
              <a:ext cx="0" cy="94513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B0C82FFF-B591-D246-B684-92C3733D9CC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7938" t="658" r="1315" b="658"/>
          <a:stretch/>
        </p:blipFill>
        <p:spPr>
          <a:xfrm>
            <a:off x="0" y="0"/>
            <a:ext cx="4221480" cy="6858000"/>
          </a:xfrm>
          <a:prstGeom prst="rect">
            <a:avLst/>
          </a:prstGeom>
        </p:spPr>
      </p:pic>
      <p:pic>
        <p:nvPicPr>
          <p:cNvPr id="9" name="Picture 8" descr="GT_Logo.em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2020" y="303069"/>
            <a:ext cx="2448056" cy="71189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93627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67">
          <p15:clr>
            <a:srgbClr val="FBAE40"/>
          </p15:clr>
        </p15:guide>
        <p15:guide id="2" orient="horz" pos="223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eft w/ Sub &amp; Bra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2219" y="1234440"/>
            <a:ext cx="5622925" cy="2194560"/>
          </a:xfrm>
        </p:spPr>
        <p:txBody>
          <a:bodyPr anchor="b"/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10381AA-6F3B-434D-8422-E9ECE5FC5D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2219" y="3455634"/>
            <a:ext cx="5622925" cy="2194560"/>
          </a:xfrm>
          <a:prstGeom prst="rect">
            <a:avLst/>
          </a:prstGeom>
        </p:spPr>
        <p:txBody>
          <a:bodyPr tIns="182880" bIns="182880" anchor="t" anchorCtr="0"/>
          <a:lstStyle>
            <a:lvl1pPr marL="0" indent="0" algn="l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CE84327-F512-2B43-A315-4DFCD4F471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81B56F1-E620-A94C-A686-EF7251027E62}"/>
              </a:ext>
            </a:extLst>
          </p:cNvPr>
          <p:cNvGrpSpPr/>
          <p:nvPr/>
        </p:nvGrpSpPr>
        <p:grpSpPr>
          <a:xfrm>
            <a:off x="9748689" y="468283"/>
            <a:ext cx="1968750" cy="960120"/>
            <a:chOff x="9748689" y="468283"/>
            <a:chExt cx="1968750" cy="96012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D6A517E-7CEC-B345-A5D2-995F553E6D61}"/>
                </a:ext>
              </a:extLst>
            </p:cNvPr>
            <p:cNvCxnSpPr>
              <a:cxnSpLocks/>
            </p:cNvCxnSpPr>
            <p:nvPr/>
          </p:nvCxnSpPr>
          <p:spPr>
            <a:xfrm>
              <a:off x="9748689" y="550437"/>
              <a:ext cx="1968750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A2B77D-586F-074A-B95F-85E418DAC161}"/>
                </a:ext>
              </a:extLst>
            </p:cNvPr>
            <p:cNvCxnSpPr>
              <a:cxnSpLocks/>
            </p:cNvCxnSpPr>
            <p:nvPr/>
          </p:nvCxnSpPr>
          <p:spPr>
            <a:xfrm>
              <a:off x="11633001" y="468283"/>
              <a:ext cx="0" cy="96012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23966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eft with Bra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1755" y="2743200"/>
            <a:ext cx="5622925" cy="1417320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CE84327-F512-2B43-A315-4DFCD4F471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9949E6D-90C8-F24A-9F7F-408D440FC6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50" t="16711" b="12500"/>
          <a:stretch/>
        </p:blipFill>
        <p:spPr>
          <a:xfrm>
            <a:off x="-30480" y="0"/>
            <a:ext cx="118872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07209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BDD0D00B-05F5-4C2B-9321-091C04C267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133668" y="5757048"/>
            <a:ext cx="3090672" cy="27432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4C58F74-946F-46D3-A965-FD956A9F1015}"/>
              </a:ext>
            </a:extLst>
          </p:cNvPr>
          <p:cNvSpPr/>
          <p:nvPr/>
        </p:nvSpPr>
        <p:spPr>
          <a:xfrm>
            <a:off x="0" y="0"/>
            <a:ext cx="12192000" cy="5760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228600"/>
            <a:ext cx="11522076" cy="5486400"/>
          </a:xfrm>
        </p:spPr>
        <p:txBody>
          <a:bodyPr anchor="ctr" anchorCtr="0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91B20ABE-8968-4BCD-BA52-34D8C9D913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484" y="6488977"/>
            <a:ext cx="254236" cy="140423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1000" smtClean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3EAE05-B1AD-4EBB-B8EA-B0288B3917D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28380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Yellow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DC6089AD-576A-6647-8C8E-DCC31DE52D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993" y="457201"/>
            <a:ext cx="11240741" cy="5952106"/>
          </a:xfrm>
          <a:prstGeom prst="rect">
            <a:avLst/>
          </a:prstGeom>
        </p:spPr>
      </p:pic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A8CDBDBE-CCD7-44B3-831B-04900F3CC1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05854-1F0B-D045-B7C0-F5BDDC1B72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3920" y="3085362"/>
            <a:ext cx="8778240" cy="685800"/>
          </a:xfrm>
          <a:noFill/>
        </p:spPr>
        <p:txBody>
          <a:bodyPr lIns="137160" rIns="137160" anchor="ctr" anchorCtr="0"/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43363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57">
          <p15:clr>
            <a:srgbClr val="FBAE40"/>
          </p15:clr>
        </p15:guide>
        <p15:guide id="2" pos="721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 Full: Title &amp;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895A7BC1-3835-7A41-874C-6B4214A8A9F9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475488" y="453561"/>
            <a:ext cx="11248434" cy="5947240"/>
          </a:xfrm>
          <a:custGeom>
            <a:avLst/>
            <a:gdLst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4818040 w 5158611"/>
              <a:gd name="connsiteY2" fmla="*/ 0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8611"/>
              <a:gd name="connsiteY0" fmla="*/ 340840 h 5943869"/>
              <a:gd name="connsiteX1" fmla="*/ 340571 w 5158611"/>
              <a:gd name="connsiteY1" fmla="*/ 269 h 5943869"/>
              <a:gd name="connsiteX2" fmla="*/ 4818040 w 5158611"/>
              <a:gd name="connsiteY2" fmla="*/ 269 h 5943869"/>
              <a:gd name="connsiteX3" fmla="*/ 5158611 w 5158611"/>
              <a:gd name="connsiteY3" fmla="*/ 340840 h 5943869"/>
              <a:gd name="connsiteX4" fmla="*/ 5158611 w 5158611"/>
              <a:gd name="connsiteY4" fmla="*/ 5603298 h 5943869"/>
              <a:gd name="connsiteX5" fmla="*/ 4818040 w 5158611"/>
              <a:gd name="connsiteY5" fmla="*/ 5943869 h 5943869"/>
              <a:gd name="connsiteX6" fmla="*/ 340571 w 5158611"/>
              <a:gd name="connsiteY6" fmla="*/ 5943869 h 5943869"/>
              <a:gd name="connsiteX7" fmla="*/ 0 w 5158611"/>
              <a:gd name="connsiteY7" fmla="*/ 5603298 h 5943869"/>
              <a:gd name="connsiteX8" fmla="*/ 0 w 5158611"/>
              <a:gd name="connsiteY8" fmla="*/ 340840 h 5943869"/>
              <a:gd name="connsiteX0" fmla="*/ 0 w 5164500"/>
              <a:gd name="connsiteY0" fmla="*/ 356316 h 5959345"/>
              <a:gd name="connsiteX1" fmla="*/ 340571 w 5164500"/>
              <a:gd name="connsiteY1" fmla="*/ 15745 h 5959345"/>
              <a:gd name="connsiteX2" fmla="*/ 5143505 w 5164500"/>
              <a:gd name="connsiteY2" fmla="*/ 247 h 5959345"/>
              <a:gd name="connsiteX3" fmla="*/ 5158611 w 5164500"/>
              <a:gd name="connsiteY3" fmla="*/ 356316 h 5959345"/>
              <a:gd name="connsiteX4" fmla="*/ 5158611 w 5164500"/>
              <a:gd name="connsiteY4" fmla="*/ 5618774 h 5959345"/>
              <a:gd name="connsiteX5" fmla="*/ 4818040 w 5164500"/>
              <a:gd name="connsiteY5" fmla="*/ 5959345 h 5959345"/>
              <a:gd name="connsiteX6" fmla="*/ 340571 w 5164500"/>
              <a:gd name="connsiteY6" fmla="*/ 5959345 h 5959345"/>
              <a:gd name="connsiteX7" fmla="*/ 0 w 5164500"/>
              <a:gd name="connsiteY7" fmla="*/ 5618774 h 5959345"/>
              <a:gd name="connsiteX8" fmla="*/ 0 w 5164500"/>
              <a:gd name="connsiteY8" fmla="*/ 356316 h 5959345"/>
              <a:gd name="connsiteX0" fmla="*/ 0 w 5158611"/>
              <a:gd name="connsiteY0" fmla="*/ 356126 h 5959155"/>
              <a:gd name="connsiteX1" fmla="*/ 340571 w 5158611"/>
              <a:gd name="connsiteY1" fmla="*/ 15555 h 5959155"/>
              <a:gd name="connsiteX2" fmla="*/ 5143505 w 5158611"/>
              <a:gd name="connsiteY2" fmla="*/ 57 h 5959155"/>
              <a:gd name="connsiteX3" fmla="*/ 5158611 w 5158611"/>
              <a:gd name="connsiteY3" fmla="*/ 356126 h 5959155"/>
              <a:gd name="connsiteX4" fmla="*/ 5158611 w 5158611"/>
              <a:gd name="connsiteY4" fmla="*/ 5618584 h 5959155"/>
              <a:gd name="connsiteX5" fmla="*/ 4818040 w 5158611"/>
              <a:gd name="connsiteY5" fmla="*/ 5959155 h 5959155"/>
              <a:gd name="connsiteX6" fmla="*/ 340571 w 5158611"/>
              <a:gd name="connsiteY6" fmla="*/ 5959155 h 5959155"/>
              <a:gd name="connsiteX7" fmla="*/ 0 w 5158611"/>
              <a:gd name="connsiteY7" fmla="*/ 5618584 h 5959155"/>
              <a:gd name="connsiteX8" fmla="*/ 0 w 5158611"/>
              <a:gd name="connsiteY8" fmla="*/ 356126 h 5959155"/>
              <a:gd name="connsiteX0" fmla="*/ 0 w 5158611"/>
              <a:gd name="connsiteY0" fmla="*/ 343773 h 5946802"/>
              <a:gd name="connsiteX1" fmla="*/ 340571 w 5158611"/>
              <a:gd name="connsiteY1" fmla="*/ 3202 h 5946802"/>
              <a:gd name="connsiteX2" fmla="*/ 5151743 w 5158611"/>
              <a:gd name="connsiteY2" fmla="*/ 61 h 5946802"/>
              <a:gd name="connsiteX3" fmla="*/ 5158611 w 5158611"/>
              <a:gd name="connsiteY3" fmla="*/ 343773 h 5946802"/>
              <a:gd name="connsiteX4" fmla="*/ 5158611 w 5158611"/>
              <a:gd name="connsiteY4" fmla="*/ 5606231 h 5946802"/>
              <a:gd name="connsiteX5" fmla="*/ 4818040 w 5158611"/>
              <a:gd name="connsiteY5" fmla="*/ 5946802 h 5946802"/>
              <a:gd name="connsiteX6" fmla="*/ 340571 w 5158611"/>
              <a:gd name="connsiteY6" fmla="*/ 5946802 h 5946802"/>
              <a:gd name="connsiteX7" fmla="*/ 0 w 5158611"/>
              <a:gd name="connsiteY7" fmla="*/ 5606231 h 5946802"/>
              <a:gd name="connsiteX8" fmla="*/ 0 w 5158611"/>
              <a:gd name="connsiteY8" fmla="*/ 343773 h 5946802"/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5155862 w 5158611"/>
              <a:gd name="connsiteY2" fmla="*/ 978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9981"/>
              <a:gd name="connsiteY0" fmla="*/ 340571 h 5943600"/>
              <a:gd name="connsiteX1" fmla="*/ 340571 w 5159981"/>
              <a:gd name="connsiteY1" fmla="*/ 0 h 5943600"/>
              <a:gd name="connsiteX2" fmla="*/ 5159981 w 5159981"/>
              <a:gd name="connsiteY2" fmla="*/ 978 h 5943600"/>
              <a:gd name="connsiteX3" fmla="*/ 5158611 w 5159981"/>
              <a:gd name="connsiteY3" fmla="*/ 340571 h 5943600"/>
              <a:gd name="connsiteX4" fmla="*/ 5158611 w 5159981"/>
              <a:gd name="connsiteY4" fmla="*/ 5603029 h 5943600"/>
              <a:gd name="connsiteX5" fmla="*/ 4818040 w 5159981"/>
              <a:gd name="connsiteY5" fmla="*/ 5943600 h 5943600"/>
              <a:gd name="connsiteX6" fmla="*/ 340571 w 5159981"/>
              <a:gd name="connsiteY6" fmla="*/ 5943600 h 5943600"/>
              <a:gd name="connsiteX7" fmla="*/ 0 w 5159981"/>
              <a:gd name="connsiteY7" fmla="*/ 5603029 h 5943600"/>
              <a:gd name="connsiteX8" fmla="*/ 0 w 5159981"/>
              <a:gd name="connsiteY8" fmla="*/ 340571 h 5943600"/>
              <a:gd name="connsiteX0" fmla="*/ 0 w 5529501"/>
              <a:gd name="connsiteY0" fmla="*/ 340571 h 5943600"/>
              <a:gd name="connsiteX1" fmla="*/ 340571 w 5529501"/>
              <a:gd name="connsiteY1" fmla="*/ 0 h 5943600"/>
              <a:gd name="connsiteX2" fmla="*/ 5159981 w 5529501"/>
              <a:gd name="connsiteY2" fmla="*/ 978 h 5943600"/>
              <a:gd name="connsiteX3" fmla="*/ 5158611 w 5529501"/>
              <a:gd name="connsiteY3" fmla="*/ 5603029 h 5943600"/>
              <a:gd name="connsiteX4" fmla="*/ 4818040 w 5529501"/>
              <a:gd name="connsiteY4" fmla="*/ 5943600 h 5943600"/>
              <a:gd name="connsiteX5" fmla="*/ 340571 w 5529501"/>
              <a:gd name="connsiteY5" fmla="*/ 5943600 h 5943600"/>
              <a:gd name="connsiteX6" fmla="*/ 0 w 5529501"/>
              <a:gd name="connsiteY6" fmla="*/ 5603029 h 5943600"/>
              <a:gd name="connsiteX7" fmla="*/ 0 w 5529501"/>
              <a:gd name="connsiteY7" fmla="*/ 340571 h 5943600"/>
              <a:gd name="connsiteX0" fmla="*/ 0 w 5719881"/>
              <a:gd name="connsiteY0" fmla="*/ 340571 h 5943600"/>
              <a:gd name="connsiteX1" fmla="*/ 340571 w 5719881"/>
              <a:gd name="connsiteY1" fmla="*/ 0 h 5943600"/>
              <a:gd name="connsiteX2" fmla="*/ 5159981 w 5719881"/>
              <a:gd name="connsiteY2" fmla="*/ 978 h 5943600"/>
              <a:gd name="connsiteX3" fmla="*/ 5158611 w 5719881"/>
              <a:gd name="connsiteY3" fmla="*/ 5603029 h 5943600"/>
              <a:gd name="connsiteX4" fmla="*/ 4818040 w 5719881"/>
              <a:gd name="connsiteY4" fmla="*/ 5943600 h 5943600"/>
              <a:gd name="connsiteX5" fmla="*/ 340571 w 5719881"/>
              <a:gd name="connsiteY5" fmla="*/ 5943600 h 5943600"/>
              <a:gd name="connsiteX6" fmla="*/ 0 w 5719881"/>
              <a:gd name="connsiteY6" fmla="*/ 5603029 h 5943600"/>
              <a:gd name="connsiteX7" fmla="*/ 0 w 5719881"/>
              <a:gd name="connsiteY7" fmla="*/ 340571 h 5943600"/>
              <a:gd name="connsiteX0" fmla="*/ 0 w 5184144"/>
              <a:gd name="connsiteY0" fmla="*/ 340571 h 5943600"/>
              <a:gd name="connsiteX1" fmla="*/ 340571 w 5184144"/>
              <a:gd name="connsiteY1" fmla="*/ 0 h 5943600"/>
              <a:gd name="connsiteX2" fmla="*/ 5159981 w 5184144"/>
              <a:gd name="connsiteY2" fmla="*/ 978 h 5943600"/>
              <a:gd name="connsiteX3" fmla="*/ 5158611 w 5184144"/>
              <a:gd name="connsiteY3" fmla="*/ 5603029 h 5943600"/>
              <a:gd name="connsiteX4" fmla="*/ 4818040 w 5184144"/>
              <a:gd name="connsiteY4" fmla="*/ 5943600 h 5943600"/>
              <a:gd name="connsiteX5" fmla="*/ 340571 w 5184144"/>
              <a:gd name="connsiteY5" fmla="*/ 5943600 h 5943600"/>
              <a:gd name="connsiteX6" fmla="*/ 0 w 5184144"/>
              <a:gd name="connsiteY6" fmla="*/ 5603029 h 5943600"/>
              <a:gd name="connsiteX7" fmla="*/ 0 w 5184144"/>
              <a:gd name="connsiteY7" fmla="*/ 340571 h 5943600"/>
              <a:gd name="connsiteX0" fmla="*/ 0 w 5194160"/>
              <a:gd name="connsiteY0" fmla="*/ 340571 h 5943600"/>
              <a:gd name="connsiteX1" fmla="*/ 340571 w 5194160"/>
              <a:gd name="connsiteY1" fmla="*/ 0 h 5943600"/>
              <a:gd name="connsiteX2" fmla="*/ 5187482 w 5194160"/>
              <a:gd name="connsiteY2" fmla="*/ 978 h 5943600"/>
              <a:gd name="connsiteX3" fmla="*/ 5158611 w 5194160"/>
              <a:gd name="connsiteY3" fmla="*/ 5603029 h 5943600"/>
              <a:gd name="connsiteX4" fmla="*/ 4818040 w 5194160"/>
              <a:gd name="connsiteY4" fmla="*/ 5943600 h 5943600"/>
              <a:gd name="connsiteX5" fmla="*/ 340571 w 5194160"/>
              <a:gd name="connsiteY5" fmla="*/ 5943600 h 5943600"/>
              <a:gd name="connsiteX6" fmla="*/ 0 w 5194160"/>
              <a:gd name="connsiteY6" fmla="*/ 5603029 h 5943600"/>
              <a:gd name="connsiteX7" fmla="*/ 0 w 5194160"/>
              <a:gd name="connsiteY7" fmla="*/ 340571 h 5943600"/>
              <a:gd name="connsiteX0" fmla="*/ 0 w 5911768"/>
              <a:gd name="connsiteY0" fmla="*/ 340571 h 5943600"/>
              <a:gd name="connsiteX1" fmla="*/ 340571 w 5911768"/>
              <a:gd name="connsiteY1" fmla="*/ 0 h 5943600"/>
              <a:gd name="connsiteX2" fmla="*/ 5187482 w 5911768"/>
              <a:gd name="connsiteY2" fmla="*/ 978 h 5943600"/>
              <a:gd name="connsiteX3" fmla="*/ 5158611 w 5911768"/>
              <a:gd name="connsiteY3" fmla="*/ 5603029 h 5943600"/>
              <a:gd name="connsiteX4" fmla="*/ 4818040 w 5911768"/>
              <a:gd name="connsiteY4" fmla="*/ 5943600 h 5943600"/>
              <a:gd name="connsiteX5" fmla="*/ 340571 w 5911768"/>
              <a:gd name="connsiteY5" fmla="*/ 5943600 h 5943600"/>
              <a:gd name="connsiteX6" fmla="*/ 0 w 5911768"/>
              <a:gd name="connsiteY6" fmla="*/ 5603029 h 5943600"/>
              <a:gd name="connsiteX7" fmla="*/ 0 w 5911768"/>
              <a:gd name="connsiteY7" fmla="*/ 340571 h 5943600"/>
              <a:gd name="connsiteX0" fmla="*/ 0 w 5193729"/>
              <a:gd name="connsiteY0" fmla="*/ 340571 h 5943600"/>
              <a:gd name="connsiteX1" fmla="*/ 340571 w 5193729"/>
              <a:gd name="connsiteY1" fmla="*/ 0 h 5943600"/>
              <a:gd name="connsiteX2" fmla="*/ 5187482 w 5193729"/>
              <a:gd name="connsiteY2" fmla="*/ 978 h 5943600"/>
              <a:gd name="connsiteX3" fmla="*/ 5158611 w 5193729"/>
              <a:gd name="connsiteY3" fmla="*/ 5603029 h 5943600"/>
              <a:gd name="connsiteX4" fmla="*/ 4818040 w 5193729"/>
              <a:gd name="connsiteY4" fmla="*/ 5943600 h 5943600"/>
              <a:gd name="connsiteX5" fmla="*/ 340571 w 5193729"/>
              <a:gd name="connsiteY5" fmla="*/ 5943600 h 5943600"/>
              <a:gd name="connsiteX6" fmla="*/ 0 w 5193729"/>
              <a:gd name="connsiteY6" fmla="*/ 5603029 h 5943600"/>
              <a:gd name="connsiteX7" fmla="*/ 0 w 5193729"/>
              <a:gd name="connsiteY7" fmla="*/ 340571 h 5943600"/>
              <a:gd name="connsiteX0" fmla="*/ 0 w 5191281"/>
              <a:gd name="connsiteY0" fmla="*/ 340571 h 5943600"/>
              <a:gd name="connsiteX1" fmla="*/ 340571 w 5191281"/>
              <a:gd name="connsiteY1" fmla="*/ 0 h 5943600"/>
              <a:gd name="connsiteX2" fmla="*/ 5187482 w 5191281"/>
              <a:gd name="connsiteY2" fmla="*/ 978 h 5943600"/>
              <a:gd name="connsiteX3" fmla="*/ 5158611 w 5191281"/>
              <a:gd name="connsiteY3" fmla="*/ 5603029 h 5943600"/>
              <a:gd name="connsiteX4" fmla="*/ 4818040 w 5191281"/>
              <a:gd name="connsiteY4" fmla="*/ 5943600 h 5943600"/>
              <a:gd name="connsiteX5" fmla="*/ 340571 w 5191281"/>
              <a:gd name="connsiteY5" fmla="*/ 5943600 h 5943600"/>
              <a:gd name="connsiteX6" fmla="*/ 0 w 5191281"/>
              <a:gd name="connsiteY6" fmla="*/ 5603029 h 5943600"/>
              <a:gd name="connsiteX7" fmla="*/ 0 w 5191281"/>
              <a:gd name="connsiteY7" fmla="*/ 340571 h 5943600"/>
              <a:gd name="connsiteX0" fmla="*/ 0 w 5197650"/>
              <a:gd name="connsiteY0" fmla="*/ 340571 h 5943600"/>
              <a:gd name="connsiteX1" fmla="*/ 340571 w 5197650"/>
              <a:gd name="connsiteY1" fmla="*/ 0 h 5943600"/>
              <a:gd name="connsiteX2" fmla="*/ 5187482 w 5197650"/>
              <a:gd name="connsiteY2" fmla="*/ 978 h 5943600"/>
              <a:gd name="connsiteX3" fmla="*/ 5158611 w 5197650"/>
              <a:gd name="connsiteY3" fmla="*/ 5603029 h 5943600"/>
              <a:gd name="connsiteX4" fmla="*/ 4818040 w 5197650"/>
              <a:gd name="connsiteY4" fmla="*/ 5943600 h 5943600"/>
              <a:gd name="connsiteX5" fmla="*/ 340571 w 5197650"/>
              <a:gd name="connsiteY5" fmla="*/ 5943600 h 5943600"/>
              <a:gd name="connsiteX6" fmla="*/ 0 w 5197650"/>
              <a:gd name="connsiteY6" fmla="*/ 5603029 h 5943600"/>
              <a:gd name="connsiteX7" fmla="*/ 0 w 5197650"/>
              <a:gd name="connsiteY7" fmla="*/ 340571 h 5943600"/>
              <a:gd name="connsiteX0" fmla="*/ 0 w 5187840"/>
              <a:gd name="connsiteY0" fmla="*/ 340571 h 5943600"/>
              <a:gd name="connsiteX1" fmla="*/ 340571 w 5187840"/>
              <a:gd name="connsiteY1" fmla="*/ 0 h 5943600"/>
              <a:gd name="connsiteX2" fmla="*/ 5187482 w 5187840"/>
              <a:gd name="connsiteY2" fmla="*/ 978 h 5943600"/>
              <a:gd name="connsiteX3" fmla="*/ 5158611 w 5187840"/>
              <a:gd name="connsiteY3" fmla="*/ 5603029 h 5943600"/>
              <a:gd name="connsiteX4" fmla="*/ 4818040 w 5187840"/>
              <a:gd name="connsiteY4" fmla="*/ 5943600 h 5943600"/>
              <a:gd name="connsiteX5" fmla="*/ 340571 w 5187840"/>
              <a:gd name="connsiteY5" fmla="*/ 5943600 h 5943600"/>
              <a:gd name="connsiteX6" fmla="*/ 0 w 5187840"/>
              <a:gd name="connsiteY6" fmla="*/ 5603029 h 5943600"/>
              <a:gd name="connsiteX7" fmla="*/ 0 w 5187840"/>
              <a:gd name="connsiteY7" fmla="*/ 340571 h 5943600"/>
              <a:gd name="connsiteX0" fmla="*/ 0 w 5178736"/>
              <a:gd name="connsiteY0" fmla="*/ 344211 h 5947240"/>
              <a:gd name="connsiteX1" fmla="*/ 340571 w 5178736"/>
              <a:gd name="connsiteY1" fmla="*/ 3640 h 5947240"/>
              <a:gd name="connsiteX2" fmla="*/ 5178246 w 5178736"/>
              <a:gd name="connsiteY2" fmla="*/ 0 h 5947240"/>
              <a:gd name="connsiteX3" fmla="*/ 5158611 w 5178736"/>
              <a:gd name="connsiteY3" fmla="*/ 5606669 h 5947240"/>
              <a:gd name="connsiteX4" fmla="*/ 4818040 w 5178736"/>
              <a:gd name="connsiteY4" fmla="*/ 5947240 h 5947240"/>
              <a:gd name="connsiteX5" fmla="*/ 340571 w 5178736"/>
              <a:gd name="connsiteY5" fmla="*/ 5947240 h 5947240"/>
              <a:gd name="connsiteX6" fmla="*/ 0 w 5178736"/>
              <a:gd name="connsiteY6" fmla="*/ 5606669 h 5947240"/>
              <a:gd name="connsiteX7" fmla="*/ 0 w 5178736"/>
              <a:gd name="connsiteY7" fmla="*/ 344211 h 5947240"/>
              <a:gd name="connsiteX0" fmla="*/ 0 w 5161607"/>
              <a:gd name="connsiteY0" fmla="*/ 344211 h 5947240"/>
              <a:gd name="connsiteX1" fmla="*/ 340571 w 5161607"/>
              <a:gd name="connsiteY1" fmla="*/ 3640 h 5947240"/>
              <a:gd name="connsiteX2" fmla="*/ 5159773 w 5161607"/>
              <a:gd name="connsiteY2" fmla="*/ 0 h 5947240"/>
              <a:gd name="connsiteX3" fmla="*/ 5158611 w 5161607"/>
              <a:gd name="connsiteY3" fmla="*/ 5606669 h 5947240"/>
              <a:gd name="connsiteX4" fmla="*/ 4818040 w 5161607"/>
              <a:gd name="connsiteY4" fmla="*/ 5947240 h 5947240"/>
              <a:gd name="connsiteX5" fmla="*/ 340571 w 5161607"/>
              <a:gd name="connsiteY5" fmla="*/ 5947240 h 5947240"/>
              <a:gd name="connsiteX6" fmla="*/ 0 w 5161607"/>
              <a:gd name="connsiteY6" fmla="*/ 5606669 h 5947240"/>
              <a:gd name="connsiteX7" fmla="*/ 0 w 5161607"/>
              <a:gd name="connsiteY7" fmla="*/ 344211 h 5947240"/>
              <a:gd name="connsiteX0" fmla="*/ 0 w 10733155"/>
              <a:gd name="connsiteY0" fmla="*/ 344211 h 5956667"/>
              <a:gd name="connsiteX1" fmla="*/ 340571 w 10733155"/>
              <a:gd name="connsiteY1" fmla="*/ 3640 h 5956667"/>
              <a:gd name="connsiteX2" fmla="*/ 5159773 w 10733155"/>
              <a:gd name="connsiteY2" fmla="*/ 0 h 5956667"/>
              <a:gd name="connsiteX3" fmla="*/ 5158611 w 10733155"/>
              <a:gd name="connsiteY3" fmla="*/ 5606669 h 5956667"/>
              <a:gd name="connsiteX4" fmla="*/ 10728646 w 10733155"/>
              <a:gd name="connsiteY4" fmla="*/ 5956667 h 5956667"/>
              <a:gd name="connsiteX5" fmla="*/ 340571 w 10733155"/>
              <a:gd name="connsiteY5" fmla="*/ 5947240 h 5956667"/>
              <a:gd name="connsiteX6" fmla="*/ 0 w 10733155"/>
              <a:gd name="connsiteY6" fmla="*/ 5606669 h 5956667"/>
              <a:gd name="connsiteX7" fmla="*/ 0 w 10733155"/>
              <a:gd name="connsiteY7" fmla="*/ 344211 h 5956667"/>
              <a:gd name="connsiteX0" fmla="*/ 0 w 11248326"/>
              <a:gd name="connsiteY0" fmla="*/ 344211 h 5956667"/>
              <a:gd name="connsiteX1" fmla="*/ 340571 w 11248326"/>
              <a:gd name="connsiteY1" fmla="*/ 3640 h 5956667"/>
              <a:gd name="connsiteX2" fmla="*/ 5159773 w 11248326"/>
              <a:gd name="connsiteY2" fmla="*/ 0 h 5956667"/>
              <a:gd name="connsiteX3" fmla="*/ 11248326 w 11248326"/>
              <a:gd name="connsiteY3" fmla="*/ 5616096 h 5956667"/>
              <a:gd name="connsiteX4" fmla="*/ 10728646 w 11248326"/>
              <a:gd name="connsiteY4" fmla="*/ 5956667 h 5956667"/>
              <a:gd name="connsiteX5" fmla="*/ 340571 w 11248326"/>
              <a:gd name="connsiteY5" fmla="*/ 5947240 h 5956667"/>
              <a:gd name="connsiteX6" fmla="*/ 0 w 11248326"/>
              <a:gd name="connsiteY6" fmla="*/ 5606669 h 5956667"/>
              <a:gd name="connsiteX7" fmla="*/ 0 w 11248326"/>
              <a:gd name="connsiteY7" fmla="*/ 344211 h 5956667"/>
              <a:gd name="connsiteX0" fmla="*/ 0 w 11248580"/>
              <a:gd name="connsiteY0" fmla="*/ 340571 h 5953027"/>
              <a:gd name="connsiteX1" fmla="*/ 340571 w 11248580"/>
              <a:gd name="connsiteY1" fmla="*/ 0 h 5953027"/>
              <a:gd name="connsiteX2" fmla="*/ 11240062 w 11248580"/>
              <a:gd name="connsiteY2" fmla="*/ 15214 h 5953027"/>
              <a:gd name="connsiteX3" fmla="*/ 11248326 w 11248580"/>
              <a:gd name="connsiteY3" fmla="*/ 5612456 h 5953027"/>
              <a:gd name="connsiteX4" fmla="*/ 10728646 w 11248580"/>
              <a:gd name="connsiteY4" fmla="*/ 5953027 h 5953027"/>
              <a:gd name="connsiteX5" fmla="*/ 340571 w 11248580"/>
              <a:gd name="connsiteY5" fmla="*/ 5943600 h 5953027"/>
              <a:gd name="connsiteX6" fmla="*/ 0 w 11248580"/>
              <a:gd name="connsiteY6" fmla="*/ 5603029 h 5953027"/>
              <a:gd name="connsiteX7" fmla="*/ 0 w 11248580"/>
              <a:gd name="connsiteY7" fmla="*/ 340571 h 5953027"/>
              <a:gd name="connsiteX0" fmla="*/ 0 w 11248331"/>
              <a:gd name="connsiteY0" fmla="*/ 340571 h 5953027"/>
              <a:gd name="connsiteX1" fmla="*/ 340571 w 11248331"/>
              <a:gd name="connsiteY1" fmla="*/ 0 h 5953027"/>
              <a:gd name="connsiteX2" fmla="*/ 10910123 w 11248331"/>
              <a:gd name="connsiteY2" fmla="*/ 580822 h 5953027"/>
              <a:gd name="connsiteX3" fmla="*/ 11248326 w 11248331"/>
              <a:gd name="connsiteY3" fmla="*/ 5612456 h 5953027"/>
              <a:gd name="connsiteX4" fmla="*/ 10728646 w 11248331"/>
              <a:gd name="connsiteY4" fmla="*/ 5953027 h 5953027"/>
              <a:gd name="connsiteX5" fmla="*/ 340571 w 11248331"/>
              <a:gd name="connsiteY5" fmla="*/ 5943600 h 5953027"/>
              <a:gd name="connsiteX6" fmla="*/ 0 w 11248331"/>
              <a:gd name="connsiteY6" fmla="*/ 5603029 h 5953027"/>
              <a:gd name="connsiteX7" fmla="*/ 0 w 11248331"/>
              <a:gd name="connsiteY7" fmla="*/ 340571 h 5953027"/>
              <a:gd name="connsiteX0" fmla="*/ 0 w 11248434"/>
              <a:gd name="connsiteY0" fmla="*/ 344211 h 5956667"/>
              <a:gd name="connsiteX1" fmla="*/ 340571 w 11248434"/>
              <a:gd name="connsiteY1" fmla="*/ 3640 h 5956667"/>
              <a:gd name="connsiteX2" fmla="*/ 11230634 w 11248434"/>
              <a:gd name="connsiteY2" fmla="*/ 0 h 5956667"/>
              <a:gd name="connsiteX3" fmla="*/ 11248326 w 11248434"/>
              <a:gd name="connsiteY3" fmla="*/ 5616096 h 5956667"/>
              <a:gd name="connsiteX4" fmla="*/ 10728646 w 11248434"/>
              <a:gd name="connsiteY4" fmla="*/ 5956667 h 5956667"/>
              <a:gd name="connsiteX5" fmla="*/ 340571 w 11248434"/>
              <a:gd name="connsiteY5" fmla="*/ 5947240 h 5956667"/>
              <a:gd name="connsiteX6" fmla="*/ 0 w 11248434"/>
              <a:gd name="connsiteY6" fmla="*/ 5606669 h 5956667"/>
              <a:gd name="connsiteX7" fmla="*/ 0 w 11248434"/>
              <a:gd name="connsiteY7" fmla="*/ 344211 h 5956667"/>
              <a:gd name="connsiteX0" fmla="*/ 0 w 11248434"/>
              <a:gd name="connsiteY0" fmla="*/ 344211 h 5947240"/>
              <a:gd name="connsiteX1" fmla="*/ 340571 w 11248434"/>
              <a:gd name="connsiteY1" fmla="*/ 3640 h 5947240"/>
              <a:gd name="connsiteX2" fmla="*/ 11230634 w 11248434"/>
              <a:gd name="connsiteY2" fmla="*/ 0 h 5947240"/>
              <a:gd name="connsiteX3" fmla="*/ 11248326 w 11248434"/>
              <a:gd name="connsiteY3" fmla="*/ 5616096 h 5947240"/>
              <a:gd name="connsiteX4" fmla="*/ 10912676 w 11248434"/>
              <a:gd name="connsiteY4" fmla="*/ 5945165 h 5947240"/>
              <a:gd name="connsiteX5" fmla="*/ 340571 w 11248434"/>
              <a:gd name="connsiteY5" fmla="*/ 5947240 h 5947240"/>
              <a:gd name="connsiteX6" fmla="*/ 0 w 11248434"/>
              <a:gd name="connsiteY6" fmla="*/ 5606669 h 5947240"/>
              <a:gd name="connsiteX7" fmla="*/ 0 w 11248434"/>
              <a:gd name="connsiteY7" fmla="*/ 344211 h 594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48434" h="5947240">
                <a:moveTo>
                  <a:pt x="0" y="344211"/>
                </a:moveTo>
                <a:cubicBezTo>
                  <a:pt x="0" y="156119"/>
                  <a:pt x="152479" y="3640"/>
                  <a:pt x="340571" y="3640"/>
                </a:cubicBezTo>
                <a:lnTo>
                  <a:pt x="11230634" y="0"/>
                </a:lnTo>
                <a:cubicBezTo>
                  <a:pt x="11234670" y="2407"/>
                  <a:pt x="11249863" y="4639513"/>
                  <a:pt x="11248326" y="5616096"/>
                </a:cubicBezTo>
                <a:cubicBezTo>
                  <a:pt x="11248326" y="5804188"/>
                  <a:pt x="11100768" y="5945165"/>
                  <a:pt x="10912676" y="5945165"/>
                </a:cubicBezTo>
                <a:lnTo>
                  <a:pt x="340571" y="5947240"/>
                </a:lnTo>
                <a:cubicBezTo>
                  <a:pt x="152479" y="5947240"/>
                  <a:pt x="0" y="5794761"/>
                  <a:pt x="0" y="5606669"/>
                </a:cubicBezTo>
                <a:lnTo>
                  <a:pt x="0" y="344211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l">
              <a:buFontTx/>
              <a:buNone/>
              <a:defRPr lang="en-US" sz="1800" dirty="0">
                <a:noFill/>
              </a:defRPr>
            </a:lvl1pPr>
          </a:lstStyle>
          <a:p>
            <a:pPr lvl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865BA6F-2010-6747-8D16-9D3D5F4071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3920" y="1234440"/>
            <a:ext cx="5486400" cy="2423160"/>
          </a:xfrm>
          <a:noFill/>
        </p:spPr>
        <p:txBody>
          <a:bodyPr lIns="137160" rIns="137160" anchor="b" anchorCtr="0"/>
          <a:lstStyle>
            <a:lvl1pPr algn="l">
              <a:lnSpc>
                <a:spcPct val="9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1136A946-2964-A141-8BAF-3CF18AE4F2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3920" y="3657600"/>
            <a:ext cx="5486400" cy="1874520"/>
          </a:xfrm>
          <a:prstGeom prst="rect">
            <a:avLst/>
          </a:prstGeom>
        </p:spPr>
        <p:txBody>
          <a:bodyPr lIns="137160" tIns="182880" rIns="137160" bIns="182880" anchor="t" anchorCtr="0"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A15F3D-AC04-B64A-B33D-4946D9634B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79335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 Square Left: Title and Sub w/ Bra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E067813-9DC8-BE45-A5CC-D2B27E417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25" y="2310673"/>
            <a:ext cx="4846955" cy="1314975"/>
          </a:xfrm>
        </p:spPr>
        <p:txBody>
          <a:bodyPr wrap="square" rIns="137160" anchor="b" anchorCtr="0">
            <a:spAutoFit/>
          </a:bodyPr>
          <a:lstStyle>
            <a:lvl1pPr algn="r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3A050F-49AA-7D4B-83EE-C84CE0A1135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BB94095-1D80-924F-BABC-3CF3E38EDF4D}"/>
              </a:ext>
            </a:extLst>
          </p:cNvPr>
          <p:cNvGrpSpPr/>
          <p:nvPr/>
        </p:nvGrpSpPr>
        <p:grpSpPr>
          <a:xfrm>
            <a:off x="9748689" y="465429"/>
            <a:ext cx="1968750" cy="960120"/>
            <a:chOff x="9748689" y="465429"/>
            <a:chExt cx="1968750" cy="96012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6F7AE0C7-D68C-D149-AA48-35700DF7FEFA}"/>
                </a:ext>
              </a:extLst>
            </p:cNvPr>
            <p:cNvCxnSpPr>
              <a:cxnSpLocks/>
            </p:cNvCxnSpPr>
            <p:nvPr/>
          </p:nvCxnSpPr>
          <p:spPr>
            <a:xfrm>
              <a:off x="9748689" y="550437"/>
              <a:ext cx="1968750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C22828B3-84DF-184D-9F6C-53816AD6D3ED}"/>
                </a:ext>
              </a:extLst>
            </p:cNvPr>
            <p:cNvCxnSpPr>
              <a:cxnSpLocks/>
            </p:cNvCxnSpPr>
            <p:nvPr/>
          </p:nvCxnSpPr>
          <p:spPr>
            <a:xfrm>
              <a:off x="11633001" y="465429"/>
              <a:ext cx="0" cy="96012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Subtitle 2">
            <a:extLst>
              <a:ext uri="{FF2B5EF4-FFF2-40B4-BE49-F238E27FC236}">
                <a16:creationId xmlns:a16="http://schemas.microsoft.com/office/drawing/2014/main" id="{6D31F9B5-2900-F247-A86E-28333F4134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1124" y="3644899"/>
            <a:ext cx="4846955" cy="1155701"/>
          </a:xfrm>
          <a:prstGeom prst="rect">
            <a:avLst/>
          </a:prstGeom>
        </p:spPr>
        <p:txBody>
          <a:bodyPr lIns="137160" tIns="182880" rIns="137160" bIns="182880" anchor="t" anchorCtr="0">
            <a:spAutoFit/>
          </a:bodyPr>
          <a:lstStyle>
            <a:lvl1pPr marL="0" indent="0" algn="r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2AC46A0D-AD84-9648-8345-B953D8E0AEC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5016" y="454025"/>
            <a:ext cx="5162079" cy="5942013"/>
          </a:xfrm>
          <a:custGeom>
            <a:avLst/>
            <a:gdLst>
              <a:gd name="connsiteX0" fmla="*/ 333574 w 5162079"/>
              <a:gd name="connsiteY0" fmla="*/ 0 h 5942013"/>
              <a:gd name="connsiteX1" fmla="*/ 3350953 w 5162079"/>
              <a:gd name="connsiteY1" fmla="*/ 0 h 5942013"/>
              <a:gd name="connsiteX2" fmla="*/ 4828505 w 5162079"/>
              <a:gd name="connsiteY2" fmla="*/ 0 h 5942013"/>
              <a:gd name="connsiteX3" fmla="*/ 5162079 w 5162079"/>
              <a:gd name="connsiteY3" fmla="*/ 0 h 5942013"/>
              <a:gd name="connsiteX4" fmla="*/ 5162079 w 5162079"/>
              <a:gd name="connsiteY4" fmla="*/ 333574 h 5942013"/>
              <a:gd name="connsiteX5" fmla="*/ 5162079 w 5162079"/>
              <a:gd name="connsiteY5" fmla="*/ 1146175 h 5942013"/>
              <a:gd name="connsiteX6" fmla="*/ 5162079 w 5162079"/>
              <a:gd name="connsiteY6" fmla="*/ 5608439 h 5942013"/>
              <a:gd name="connsiteX7" fmla="*/ 4828505 w 5162079"/>
              <a:gd name="connsiteY7" fmla="*/ 5942013 h 5942013"/>
              <a:gd name="connsiteX8" fmla="*/ 333574 w 5162079"/>
              <a:gd name="connsiteY8" fmla="*/ 5942013 h 5942013"/>
              <a:gd name="connsiteX9" fmla="*/ 0 w 5162079"/>
              <a:gd name="connsiteY9" fmla="*/ 5608439 h 5942013"/>
              <a:gd name="connsiteX10" fmla="*/ 0 w 5162079"/>
              <a:gd name="connsiteY10" fmla="*/ 333574 h 5942013"/>
              <a:gd name="connsiteX11" fmla="*/ 333574 w 5162079"/>
              <a:gd name="connsiteY11" fmla="*/ 0 h 5942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162079" h="5942013">
                <a:moveTo>
                  <a:pt x="333574" y="0"/>
                </a:moveTo>
                <a:lnTo>
                  <a:pt x="3350953" y="0"/>
                </a:lnTo>
                <a:lnTo>
                  <a:pt x="4828505" y="0"/>
                </a:lnTo>
                <a:lnTo>
                  <a:pt x="5162079" y="0"/>
                </a:lnTo>
                <a:lnTo>
                  <a:pt x="5162079" y="333574"/>
                </a:lnTo>
                <a:lnTo>
                  <a:pt x="5162079" y="1146175"/>
                </a:lnTo>
                <a:lnTo>
                  <a:pt x="5162079" y="5608439"/>
                </a:lnTo>
                <a:cubicBezTo>
                  <a:pt x="5162079" y="5792667"/>
                  <a:pt x="5012733" y="5942013"/>
                  <a:pt x="4828505" y="5942013"/>
                </a:cubicBezTo>
                <a:lnTo>
                  <a:pt x="333574" y="5942013"/>
                </a:lnTo>
                <a:cubicBezTo>
                  <a:pt x="149346" y="5942013"/>
                  <a:pt x="0" y="5792667"/>
                  <a:pt x="0" y="5608439"/>
                </a:cubicBezTo>
                <a:lnTo>
                  <a:pt x="0" y="333574"/>
                </a:lnTo>
                <a:cubicBezTo>
                  <a:pt x="0" y="149346"/>
                  <a:pt x="149346" y="0"/>
                  <a:pt x="333574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7388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38F840B2-DCF3-4349-96E4-077263A0F28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3076" y="1279319"/>
            <a:ext cx="8823324" cy="5120640"/>
          </a:xfrm>
        </p:spPr>
        <p:txBody>
          <a:bodyPr wrap="square" lIns="137160" anchor="ctr" anchorCtr="0"/>
          <a:lstStyle>
            <a:lvl1pPr algn="l">
              <a:defRPr sz="2000"/>
            </a:lvl1pPr>
            <a:lvl2pPr algn="l">
              <a:buClr>
                <a:schemeClr val="tx1"/>
              </a:buClr>
              <a:defRPr sz="1800"/>
            </a:lvl2pPr>
            <a:lvl3pPr algn="l">
              <a:buClr>
                <a:schemeClr val="tx1"/>
              </a:buClr>
              <a:defRPr sz="1800"/>
            </a:lvl3pPr>
            <a:lvl4pPr algn="l">
              <a:buClr>
                <a:schemeClr val="tx1"/>
              </a:buClr>
              <a:defRPr sz="1800"/>
            </a:lvl4pPr>
            <a:lvl5pPr algn="l">
              <a:buClr>
                <a:schemeClr val="tx1"/>
              </a:buCl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B615C9EC-86CF-FA4A-926E-E7D47D3BA8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65CD9-7A46-844A-913F-02E222B12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65927"/>
            <a:ext cx="8823325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A94D66E-8A3B-104D-AE0D-B923638D66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50" t="16711" b="12500"/>
          <a:stretch/>
        </p:blipFill>
        <p:spPr>
          <a:xfrm>
            <a:off x="10922000" y="0"/>
            <a:ext cx="118872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7017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239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Text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988FE8-7BCE-4DCC-AD06-6E2476D85CA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73074" y="1293432"/>
            <a:ext cx="11245851" cy="1417320"/>
          </a:xfrm>
          <a:prstGeom prst="rect">
            <a:avLst/>
          </a:prstGeom>
        </p:spPr>
        <p:txBody>
          <a:bodyPr tIns="0" bIns="0"/>
          <a:lstStyle>
            <a:lvl1pPr marL="0" indent="0" algn="ctr">
              <a:buFont typeface="Arial" panose="020B0604020202020204" pitchFamily="34" charset="0"/>
              <a:buNone/>
              <a:defRPr sz="2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E9F538E8-723E-41BE-93B6-5B9E3CDA93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5C1E8D-83E2-FC4D-B314-9FA32D43FD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411627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55520" y="2514600"/>
            <a:ext cx="7680960" cy="1828800"/>
          </a:xfrm>
        </p:spPr>
        <p:txBody>
          <a:bodyPr lIns="91440" rIns="91440" anchor="ctr" anchorCtr="0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0805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Text Content 3 u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E9F538E8-723E-41BE-93B6-5B9E3CDA93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628E9C-9F91-0C4D-9FC8-C8EA50B0E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0F5285D-A081-294C-8B7C-643CD3093B9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94278" y="3310622"/>
            <a:ext cx="3361442" cy="3090178"/>
          </a:xfrm>
          <a:custGeom>
            <a:avLst/>
            <a:gdLst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2828643 w 3154363"/>
              <a:gd name="connsiteY2" fmla="*/ 0 h 3181618"/>
              <a:gd name="connsiteX3" fmla="*/ 3154363 w 3154363"/>
              <a:gd name="connsiteY3" fmla="*/ 325720 h 3181618"/>
              <a:gd name="connsiteX4" fmla="*/ 3154363 w 3154363"/>
              <a:gd name="connsiteY4" fmla="*/ 2855898 h 3181618"/>
              <a:gd name="connsiteX5" fmla="*/ 2828643 w 3154363"/>
              <a:gd name="connsiteY5" fmla="*/ 3181618 h 3181618"/>
              <a:gd name="connsiteX6" fmla="*/ 325720 w 3154363"/>
              <a:gd name="connsiteY6" fmla="*/ 3181618 h 3181618"/>
              <a:gd name="connsiteX7" fmla="*/ 0 w 3154363"/>
              <a:gd name="connsiteY7" fmla="*/ 2855898 h 3181618"/>
              <a:gd name="connsiteX8" fmla="*/ 0 w 3154363"/>
              <a:gd name="connsiteY8" fmla="*/ 325720 h 3181618"/>
              <a:gd name="connsiteX0" fmla="*/ 0 w 3175629"/>
              <a:gd name="connsiteY0" fmla="*/ 325720 h 3181618"/>
              <a:gd name="connsiteX1" fmla="*/ 325720 w 3175629"/>
              <a:gd name="connsiteY1" fmla="*/ 0 h 3181618"/>
              <a:gd name="connsiteX2" fmla="*/ 2828643 w 3175629"/>
              <a:gd name="connsiteY2" fmla="*/ 0 h 3181618"/>
              <a:gd name="connsiteX3" fmla="*/ 3154363 w 3175629"/>
              <a:gd name="connsiteY3" fmla="*/ 2855898 h 3181618"/>
              <a:gd name="connsiteX4" fmla="*/ 2828643 w 3175629"/>
              <a:gd name="connsiteY4" fmla="*/ 3181618 h 3181618"/>
              <a:gd name="connsiteX5" fmla="*/ 325720 w 3175629"/>
              <a:gd name="connsiteY5" fmla="*/ 3181618 h 3181618"/>
              <a:gd name="connsiteX6" fmla="*/ 0 w 3175629"/>
              <a:gd name="connsiteY6" fmla="*/ 2855898 h 3181618"/>
              <a:gd name="connsiteX7" fmla="*/ 0 w 3175629"/>
              <a:gd name="connsiteY7" fmla="*/ 325720 h 3181618"/>
              <a:gd name="connsiteX0" fmla="*/ 0 w 3296538"/>
              <a:gd name="connsiteY0" fmla="*/ 325720 h 3181618"/>
              <a:gd name="connsiteX1" fmla="*/ 325720 w 3296538"/>
              <a:gd name="connsiteY1" fmla="*/ 0 h 3181618"/>
              <a:gd name="connsiteX2" fmla="*/ 3059102 w 3296538"/>
              <a:gd name="connsiteY2" fmla="*/ 3717 h 3181618"/>
              <a:gd name="connsiteX3" fmla="*/ 3154363 w 3296538"/>
              <a:gd name="connsiteY3" fmla="*/ 2855898 h 3181618"/>
              <a:gd name="connsiteX4" fmla="*/ 2828643 w 3296538"/>
              <a:gd name="connsiteY4" fmla="*/ 3181618 h 3181618"/>
              <a:gd name="connsiteX5" fmla="*/ 325720 w 3296538"/>
              <a:gd name="connsiteY5" fmla="*/ 3181618 h 3181618"/>
              <a:gd name="connsiteX6" fmla="*/ 0 w 3296538"/>
              <a:gd name="connsiteY6" fmla="*/ 2855898 h 3181618"/>
              <a:gd name="connsiteX7" fmla="*/ 0 w 3296538"/>
              <a:gd name="connsiteY7" fmla="*/ 325720 h 3181618"/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3059102 w 3154363"/>
              <a:gd name="connsiteY2" fmla="*/ 3717 h 3181618"/>
              <a:gd name="connsiteX3" fmla="*/ 3154363 w 3154363"/>
              <a:gd name="connsiteY3" fmla="*/ 2855898 h 3181618"/>
              <a:gd name="connsiteX4" fmla="*/ 2828643 w 3154363"/>
              <a:gd name="connsiteY4" fmla="*/ 3181618 h 3181618"/>
              <a:gd name="connsiteX5" fmla="*/ 325720 w 3154363"/>
              <a:gd name="connsiteY5" fmla="*/ 3181618 h 3181618"/>
              <a:gd name="connsiteX6" fmla="*/ 0 w 3154363"/>
              <a:gd name="connsiteY6" fmla="*/ 2855898 h 3181618"/>
              <a:gd name="connsiteX7" fmla="*/ 0 w 3154363"/>
              <a:gd name="connsiteY7" fmla="*/ 325720 h 3181618"/>
              <a:gd name="connsiteX0" fmla="*/ 0 w 3163691"/>
              <a:gd name="connsiteY0" fmla="*/ 325720 h 3181618"/>
              <a:gd name="connsiteX1" fmla="*/ 325720 w 3163691"/>
              <a:gd name="connsiteY1" fmla="*/ 0 h 3181618"/>
              <a:gd name="connsiteX2" fmla="*/ 3163180 w 3163691"/>
              <a:gd name="connsiteY2" fmla="*/ 3717 h 3181618"/>
              <a:gd name="connsiteX3" fmla="*/ 3154363 w 3163691"/>
              <a:gd name="connsiteY3" fmla="*/ 2855898 h 3181618"/>
              <a:gd name="connsiteX4" fmla="*/ 2828643 w 3163691"/>
              <a:gd name="connsiteY4" fmla="*/ 3181618 h 3181618"/>
              <a:gd name="connsiteX5" fmla="*/ 325720 w 3163691"/>
              <a:gd name="connsiteY5" fmla="*/ 3181618 h 3181618"/>
              <a:gd name="connsiteX6" fmla="*/ 0 w 3163691"/>
              <a:gd name="connsiteY6" fmla="*/ 2855898 h 3181618"/>
              <a:gd name="connsiteX7" fmla="*/ 0 w 3163691"/>
              <a:gd name="connsiteY7" fmla="*/ 325720 h 3181618"/>
              <a:gd name="connsiteX0" fmla="*/ 0 w 3156832"/>
              <a:gd name="connsiteY0" fmla="*/ 325720 h 3181618"/>
              <a:gd name="connsiteX1" fmla="*/ 325720 w 3156832"/>
              <a:gd name="connsiteY1" fmla="*/ 0 h 3181618"/>
              <a:gd name="connsiteX2" fmla="*/ 3155745 w 3156832"/>
              <a:gd name="connsiteY2" fmla="*/ 3717 h 3181618"/>
              <a:gd name="connsiteX3" fmla="*/ 3154363 w 3156832"/>
              <a:gd name="connsiteY3" fmla="*/ 2855898 h 3181618"/>
              <a:gd name="connsiteX4" fmla="*/ 2828643 w 3156832"/>
              <a:gd name="connsiteY4" fmla="*/ 3181618 h 3181618"/>
              <a:gd name="connsiteX5" fmla="*/ 325720 w 3156832"/>
              <a:gd name="connsiteY5" fmla="*/ 3181618 h 3181618"/>
              <a:gd name="connsiteX6" fmla="*/ 0 w 3156832"/>
              <a:gd name="connsiteY6" fmla="*/ 2855898 h 3181618"/>
              <a:gd name="connsiteX7" fmla="*/ 0 w 3156832"/>
              <a:gd name="connsiteY7" fmla="*/ 325720 h 3181618"/>
              <a:gd name="connsiteX0" fmla="*/ 0 w 3162649"/>
              <a:gd name="connsiteY0" fmla="*/ 325720 h 3181618"/>
              <a:gd name="connsiteX1" fmla="*/ 325720 w 3162649"/>
              <a:gd name="connsiteY1" fmla="*/ 0 h 3181618"/>
              <a:gd name="connsiteX2" fmla="*/ 3162095 w 3162649"/>
              <a:gd name="connsiteY2" fmla="*/ 542 h 3181618"/>
              <a:gd name="connsiteX3" fmla="*/ 3154363 w 3162649"/>
              <a:gd name="connsiteY3" fmla="*/ 2855898 h 3181618"/>
              <a:gd name="connsiteX4" fmla="*/ 2828643 w 3162649"/>
              <a:gd name="connsiteY4" fmla="*/ 3181618 h 3181618"/>
              <a:gd name="connsiteX5" fmla="*/ 325720 w 3162649"/>
              <a:gd name="connsiteY5" fmla="*/ 3181618 h 3181618"/>
              <a:gd name="connsiteX6" fmla="*/ 0 w 3162649"/>
              <a:gd name="connsiteY6" fmla="*/ 2855898 h 3181618"/>
              <a:gd name="connsiteX7" fmla="*/ 0 w 3162649"/>
              <a:gd name="connsiteY7" fmla="*/ 325720 h 3181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2649" h="3181618">
                <a:moveTo>
                  <a:pt x="0" y="325720"/>
                </a:moveTo>
                <a:cubicBezTo>
                  <a:pt x="0" y="145830"/>
                  <a:pt x="145830" y="0"/>
                  <a:pt x="325720" y="0"/>
                </a:cubicBezTo>
                <a:lnTo>
                  <a:pt x="3162095" y="542"/>
                </a:lnTo>
                <a:cubicBezTo>
                  <a:pt x="3165184" y="8174"/>
                  <a:pt x="3154363" y="2325628"/>
                  <a:pt x="3154363" y="2855898"/>
                </a:cubicBezTo>
                <a:cubicBezTo>
                  <a:pt x="3154363" y="3035788"/>
                  <a:pt x="3008533" y="3181618"/>
                  <a:pt x="2828643" y="3181618"/>
                </a:cubicBezTo>
                <a:lnTo>
                  <a:pt x="325720" y="3181618"/>
                </a:lnTo>
                <a:cubicBezTo>
                  <a:pt x="145830" y="3181618"/>
                  <a:pt x="0" y="3035788"/>
                  <a:pt x="0" y="2855898"/>
                </a:cubicBezTo>
                <a:lnTo>
                  <a:pt x="0" y="325720"/>
                </a:lnTo>
                <a:close/>
              </a:path>
            </a:pathLst>
          </a:custGeom>
          <a:solidFill>
            <a:schemeClr val="accent1"/>
          </a:solidFill>
        </p:spPr>
        <p:txBody>
          <a:bodyPr lIns="274320" tIns="274320" rIns="274320" bIns="0" anchor="t" anchorCtr="0"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7CC393D8-78DF-5044-87CC-19BEA3050471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415279" y="3310622"/>
            <a:ext cx="3361442" cy="3090178"/>
          </a:xfrm>
          <a:custGeom>
            <a:avLst/>
            <a:gdLst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2828643 w 3154363"/>
              <a:gd name="connsiteY2" fmla="*/ 0 h 3181618"/>
              <a:gd name="connsiteX3" fmla="*/ 3154363 w 3154363"/>
              <a:gd name="connsiteY3" fmla="*/ 325720 h 3181618"/>
              <a:gd name="connsiteX4" fmla="*/ 3154363 w 3154363"/>
              <a:gd name="connsiteY4" fmla="*/ 2855898 h 3181618"/>
              <a:gd name="connsiteX5" fmla="*/ 2828643 w 3154363"/>
              <a:gd name="connsiteY5" fmla="*/ 3181618 h 3181618"/>
              <a:gd name="connsiteX6" fmla="*/ 325720 w 3154363"/>
              <a:gd name="connsiteY6" fmla="*/ 3181618 h 3181618"/>
              <a:gd name="connsiteX7" fmla="*/ 0 w 3154363"/>
              <a:gd name="connsiteY7" fmla="*/ 2855898 h 3181618"/>
              <a:gd name="connsiteX8" fmla="*/ 0 w 3154363"/>
              <a:gd name="connsiteY8" fmla="*/ 325720 h 3181618"/>
              <a:gd name="connsiteX0" fmla="*/ 0 w 3175629"/>
              <a:gd name="connsiteY0" fmla="*/ 325720 h 3181618"/>
              <a:gd name="connsiteX1" fmla="*/ 325720 w 3175629"/>
              <a:gd name="connsiteY1" fmla="*/ 0 h 3181618"/>
              <a:gd name="connsiteX2" fmla="*/ 2828643 w 3175629"/>
              <a:gd name="connsiteY2" fmla="*/ 0 h 3181618"/>
              <a:gd name="connsiteX3" fmla="*/ 3154363 w 3175629"/>
              <a:gd name="connsiteY3" fmla="*/ 2855898 h 3181618"/>
              <a:gd name="connsiteX4" fmla="*/ 2828643 w 3175629"/>
              <a:gd name="connsiteY4" fmla="*/ 3181618 h 3181618"/>
              <a:gd name="connsiteX5" fmla="*/ 325720 w 3175629"/>
              <a:gd name="connsiteY5" fmla="*/ 3181618 h 3181618"/>
              <a:gd name="connsiteX6" fmla="*/ 0 w 3175629"/>
              <a:gd name="connsiteY6" fmla="*/ 2855898 h 3181618"/>
              <a:gd name="connsiteX7" fmla="*/ 0 w 3175629"/>
              <a:gd name="connsiteY7" fmla="*/ 325720 h 3181618"/>
              <a:gd name="connsiteX0" fmla="*/ 0 w 3296538"/>
              <a:gd name="connsiteY0" fmla="*/ 325720 h 3181618"/>
              <a:gd name="connsiteX1" fmla="*/ 325720 w 3296538"/>
              <a:gd name="connsiteY1" fmla="*/ 0 h 3181618"/>
              <a:gd name="connsiteX2" fmla="*/ 3059102 w 3296538"/>
              <a:gd name="connsiteY2" fmla="*/ 3717 h 3181618"/>
              <a:gd name="connsiteX3" fmla="*/ 3154363 w 3296538"/>
              <a:gd name="connsiteY3" fmla="*/ 2855898 h 3181618"/>
              <a:gd name="connsiteX4" fmla="*/ 2828643 w 3296538"/>
              <a:gd name="connsiteY4" fmla="*/ 3181618 h 3181618"/>
              <a:gd name="connsiteX5" fmla="*/ 325720 w 3296538"/>
              <a:gd name="connsiteY5" fmla="*/ 3181618 h 3181618"/>
              <a:gd name="connsiteX6" fmla="*/ 0 w 3296538"/>
              <a:gd name="connsiteY6" fmla="*/ 2855898 h 3181618"/>
              <a:gd name="connsiteX7" fmla="*/ 0 w 3296538"/>
              <a:gd name="connsiteY7" fmla="*/ 325720 h 3181618"/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3059102 w 3154363"/>
              <a:gd name="connsiteY2" fmla="*/ 3717 h 3181618"/>
              <a:gd name="connsiteX3" fmla="*/ 3154363 w 3154363"/>
              <a:gd name="connsiteY3" fmla="*/ 2855898 h 3181618"/>
              <a:gd name="connsiteX4" fmla="*/ 2828643 w 3154363"/>
              <a:gd name="connsiteY4" fmla="*/ 3181618 h 3181618"/>
              <a:gd name="connsiteX5" fmla="*/ 325720 w 3154363"/>
              <a:gd name="connsiteY5" fmla="*/ 3181618 h 3181618"/>
              <a:gd name="connsiteX6" fmla="*/ 0 w 3154363"/>
              <a:gd name="connsiteY6" fmla="*/ 2855898 h 3181618"/>
              <a:gd name="connsiteX7" fmla="*/ 0 w 3154363"/>
              <a:gd name="connsiteY7" fmla="*/ 325720 h 3181618"/>
              <a:gd name="connsiteX0" fmla="*/ 0 w 3163691"/>
              <a:gd name="connsiteY0" fmla="*/ 325720 h 3181618"/>
              <a:gd name="connsiteX1" fmla="*/ 325720 w 3163691"/>
              <a:gd name="connsiteY1" fmla="*/ 0 h 3181618"/>
              <a:gd name="connsiteX2" fmla="*/ 3163180 w 3163691"/>
              <a:gd name="connsiteY2" fmla="*/ 3717 h 3181618"/>
              <a:gd name="connsiteX3" fmla="*/ 3154363 w 3163691"/>
              <a:gd name="connsiteY3" fmla="*/ 2855898 h 3181618"/>
              <a:gd name="connsiteX4" fmla="*/ 2828643 w 3163691"/>
              <a:gd name="connsiteY4" fmla="*/ 3181618 h 3181618"/>
              <a:gd name="connsiteX5" fmla="*/ 325720 w 3163691"/>
              <a:gd name="connsiteY5" fmla="*/ 3181618 h 3181618"/>
              <a:gd name="connsiteX6" fmla="*/ 0 w 3163691"/>
              <a:gd name="connsiteY6" fmla="*/ 2855898 h 3181618"/>
              <a:gd name="connsiteX7" fmla="*/ 0 w 3163691"/>
              <a:gd name="connsiteY7" fmla="*/ 325720 h 3181618"/>
              <a:gd name="connsiteX0" fmla="*/ 0 w 3156832"/>
              <a:gd name="connsiteY0" fmla="*/ 325720 h 3181618"/>
              <a:gd name="connsiteX1" fmla="*/ 325720 w 3156832"/>
              <a:gd name="connsiteY1" fmla="*/ 0 h 3181618"/>
              <a:gd name="connsiteX2" fmla="*/ 3155745 w 3156832"/>
              <a:gd name="connsiteY2" fmla="*/ 3717 h 3181618"/>
              <a:gd name="connsiteX3" fmla="*/ 3154363 w 3156832"/>
              <a:gd name="connsiteY3" fmla="*/ 2855898 h 3181618"/>
              <a:gd name="connsiteX4" fmla="*/ 2828643 w 3156832"/>
              <a:gd name="connsiteY4" fmla="*/ 3181618 h 3181618"/>
              <a:gd name="connsiteX5" fmla="*/ 325720 w 3156832"/>
              <a:gd name="connsiteY5" fmla="*/ 3181618 h 3181618"/>
              <a:gd name="connsiteX6" fmla="*/ 0 w 3156832"/>
              <a:gd name="connsiteY6" fmla="*/ 2855898 h 3181618"/>
              <a:gd name="connsiteX7" fmla="*/ 0 w 3156832"/>
              <a:gd name="connsiteY7" fmla="*/ 325720 h 3181618"/>
              <a:gd name="connsiteX0" fmla="*/ 0 w 3162649"/>
              <a:gd name="connsiteY0" fmla="*/ 325720 h 3181618"/>
              <a:gd name="connsiteX1" fmla="*/ 325720 w 3162649"/>
              <a:gd name="connsiteY1" fmla="*/ 0 h 3181618"/>
              <a:gd name="connsiteX2" fmla="*/ 3162095 w 3162649"/>
              <a:gd name="connsiteY2" fmla="*/ 542 h 3181618"/>
              <a:gd name="connsiteX3" fmla="*/ 3154363 w 3162649"/>
              <a:gd name="connsiteY3" fmla="*/ 2855898 h 3181618"/>
              <a:gd name="connsiteX4" fmla="*/ 2828643 w 3162649"/>
              <a:gd name="connsiteY4" fmla="*/ 3181618 h 3181618"/>
              <a:gd name="connsiteX5" fmla="*/ 325720 w 3162649"/>
              <a:gd name="connsiteY5" fmla="*/ 3181618 h 3181618"/>
              <a:gd name="connsiteX6" fmla="*/ 0 w 3162649"/>
              <a:gd name="connsiteY6" fmla="*/ 2855898 h 3181618"/>
              <a:gd name="connsiteX7" fmla="*/ 0 w 3162649"/>
              <a:gd name="connsiteY7" fmla="*/ 325720 h 3181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2649" h="3181618">
                <a:moveTo>
                  <a:pt x="0" y="325720"/>
                </a:moveTo>
                <a:cubicBezTo>
                  <a:pt x="0" y="145830"/>
                  <a:pt x="145830" y="0"/>
                  <a:pt x="325720" y="0"/>
                </a:cubicBezTo>
                <a:lnTo>
                  <a:pt x="3162095" y="542"/>
                </a:lnTo>
                <a:cubicBezTo>
                  <a:pt x="3165184" y="8174"/>
                  <a:pt x="3154363" y="2325628"/>
                  <a:pt x="3154363" y="2855898"/>
                </a:cubicBezTo>
                <a:cubicBezTo>
                  <a:pt x="3154363" y="3035788"/>
                  <a:pt x="3008533" y="3181618"/>
                  <a:pt x="2828643" y="3181618"/>
                </a:cubicBezTo>
                <a:lnTo>
                  <a:pt x="325720" y="3181618"/>
                </a:lnTo>
                <a:cubicBezTo>
                  <a:pt x="145830" y="3181618"/>
                  <a:pt x="0" y="3035788"/>
                  <a:pt x="0" y="2855898"/>
                </a:cubicBezTo>
                <a:lnTo>
                  <a:pt x="0" y="32572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</p:spPr>
        <p:txBody>
          <a:bodyPr lIns="274320" tIns="274320" rIns="274320" bIns="0" anchor="t" anchorCtr="0"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E645C898-6153-3F41-8C11-0E3A3CE637B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361114" y="3310622"/>
            <a:ext cx="3361442" cy="3090178"/>
          </a:xfrm>
          <a:custGeom>
            <a:avLst/>
            <a:gdLst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2828643 w 3154363"/>
              <a:gd name="connsiteY2" fmla="*/ 0 h 3181618"/>
              <a:gd name="connsiteX3" fmla="*/ 3154363 w 3154363"/>
              <a:gd name="connsiteY3" fmla="*/ 325720 h 3181618"/>
              <a:gd name="connsiteX4" fmla="*/ 3154363 w 3154363"/>
              <a:gd name="connsiteY4" fmla="*/ 2855898 h 3181618"/>
              <a:gd name="connsiteX5" fmla="*/ 2828643 w 3154363"/>
              <a:gd name="connsiteY5" fmla="*/ 3181618 h 3181618"/>
              <a:gd name="connsiteX6" fmla="*/ 325720 w 3154363"/>
              <a:gd name="connsiteY6" fmla="*/ 3181618 h 3181618"/>
              <a:gd name="connsiteX7" fmla="*/ 0 w 3154363"/>
              <a:gd name="connsiteY7" fmla="*/ 2855898 h 3181618"/>
              <a:gd name="connsiteX8" fmla="*/ 0 w 3154363"/>
              <a:gd name="connsiteY8" fmla="*/ 325720 h 3181618"/>
              <a:gd name="connsiteX0" fmla="*/ 0 w 3175629"/>
              <a:gd name="connsiteY0" fmla="*/ 325720 h 3181618"/>
              <a:gd name="connsiteX1" fmla="*/ 325720 w 3175629"/>
              <a:gd name="connsiteY1" fmla="*/ 0 h 3181618"/>
              <a:gd name="connsiteX2" fmla="*/ 2828643 w 3175629"/>
              <a:gd name="connsiteY2" fmla="*/ 0 h 3181618"/>
              <a:gd name="connsiteX3" fmla="*/ 3154363 w 3175629"/>
              <a:gd name="connsiteY3" fmla="*/ 2855898 h 3181618"/>
              <a:gd name="connsiteX4" fmla="*/ 2828643 w 3175629"/>
              <a:gd name="connsiteY4" fmla="*/ 3181618 h 3181618"/>
              <a:gd name="connsiteX5" fmla="*/ 325720 w 3175629"/>
              <a:gd name="connsiteY5" fmla="*/ 3181618 h 3181618"/>
              <a:gd name="connsiteX6" fmla="*/ 0 w 3175629"/>
              <a:gd name="connsiteY6" fmla="*/ 2855898 h 3181618"/>
              <a:gd name="connsiteX7" fmla="*/ 0 w 3175629"/>
              <a:gd name="connsiteY7" fmla="*/ 325720 h 3181618"/>
              <a:gd name="connsiteX0" fmla="*/ 0 w 3296538"/>
              <a:gd name="connsiteY0" fmla="*/ 325720 h 3181618"/>
              <a:gd name="connsiteX1" fmla="*/ 325720 w 3296538"/>
              <a:gd name="connsiteY1" fmla="*/ 0 h 3181618"/>
              <a:gd name="connsiteX2" fmla="*/ 3059102 w 3296538"/>
              <a:gd name="connsiteY2" fmla="*/ 3717 h 3181618"/>
              <a:gd name="connsiteX3" fmla="*/ 3154363 w 3296538"/>
              <a:gd name="connsiteY3" fmla="*/ 2855898 h 3181618"/>
              <a:gd name="connsiteX4" fmla="*/ 2828643 w 3296538"/>
              <a:gd name="connsiteY4" fmla="*/ 3181618 h 3181618"/>
              <a:gd name="connsiteX5" fmla="*/ 325720 w 3296538"/>
              <a:gd name="connsiteY5" fmla="*/ 3181618 h 3181618"/>
              <a:gd name="connsiteX6" fmla="*/ 0 w 3296538"/>
              <a:gd name="connsiteY6" fmla="*/ 2855898 h 3181618"/>
              <a:gd name="connsiteX7" fmla="*/ 0 w 3296538"/>
              <a:gd name="connsiteY7" fmla="*/ 325720 h 3181618"/>
              <a:gd name="connsiteX0" fmla="*/ 0 w 3154363"/>
              <a:gd name="connsiteY0" fmla="*/ 325720 h 3181618"/>
              <a:gd name="connsiteX1" fmla="*/ 325720 w 3154363"/>
              <a:gd name="connsiteY1" fmla="*/ 0 h 3181618"/>
              <a:gd name="connsiteX2" fmla="*/ 3059102 w 3154363"/>
              <a:gd name="connsiteY2" fmla="*/ 3717 h 3181618"/>
              <a:gd name="connsiteX3" fmla="*/ 3154363 w 3154363"/>
              <a:gd name="connsiteY3" fmla="*/ 2855898 h 3181618"/>
              <a:gd name="connsiteX4" fmla="*/ 2828643 w 3154363"/>
              <a:gd name="connsiteY4" fmla="*/ 3181618 h 3181618"/>
              <a:gd name="connsiteX5" fmla="*/ 325720 w 3154363"/>
              <a:gd name="connsiteY5" fmla="*/ 3181618 h 3181618"/>
              <a:gd name="connsiteX6" fmla="*/ 0 w 3154363"/>
              <a:gd name="connsiteY6" fmla="*/ 2855898 h 3181618"/>
              <a:gd name="connsiteX7" fmla="*/ 0 w 3154363"/>
              <a:gd name="connsiteY7" fmla="*/ 325720 h 3181618"/>
              <a:gd name="connsiteX0" fmla="*/ 0 w 3163691"/>
              <a:gd name="connsiteY0" fmla="*/ 325720 h 3181618"/>
              <a:gd name="connsiteX1" fmla="*/ 325720 w 3163691"/>
              <a:gd name="connsiteY1" fmla="*/ 0 h 3181618"/>
              <a:gd name="connsiteX2" fmla="*/ 3163180 w 3163691"/>
              <a:gd name="connsiteY2" fmla="*/ 3717 h 3181618"/>
              <a:gd name="connsiteX3" fmla="*/ 3154363 w 3163691"/>
              <a:gd name="connsiteY3" fmla="*/ 2855898 h 3181618"/>
              <a:gd name="connsiteX4" fmla="*/ 2828643 w 3163691"/>
              <a:gd name="connsiteY4" fmla="*/ 3181618 h 3181618"/>
              <a:gd name="connsiteX5" fmla="*/ 325720 w 3163691"/>
              <a:gd name="connsiteY5" fmla="*/ 3181618 h 3181618"/>
              <a:gd name="connsiteX6" fmla="*/ 0 w 3163691"/>
              <a:gd name="connsiteY6" fmla="*/ 2855898 h 3181618"/>
              <a:gd name="connsiteX7" fmla="*/ 0 w 3163691"/>
              <a:gd name="connsiteY7" fmla="*/ 325720 h 3181618"/>
              <a:gd name="connsiteX0" fmla="*/ 0 w 3156832"/>
              <a:gd name="connsiteY0" fmla="*/ 325720 h 3181618"/>
              <a:gd name="connsiteX1" fmla="*/ 325720 w 3156832"/>
              <a:gd name="connsiteY1" fmla="*/ 0 h 3181618"/>
              <a:gd name="connsiteX2" fmla="*/ 3155745 w 3156832"/>
              <a:gd name="connsiteY2" fmla="*/ 3717 h 3181618"/>
              <a:gd name="connsiteX3" fmla="*/ 3154363 w 3156832"/>
              <a:gd name="connsiteY3" fmla="*/ 2855898 h 3181618"/>
              <a:gd name="connsiteX4" fmla="*/ 2828643 w 3156832"/>
              <a:gd name="connsiteY4" fmla="*/ 3181618 h 3181618"/>
              <a:gd name="connsiteX5" fmla="*/ 325720 w 3156832"/>
              <a:gd name="connsiteY5" fmla="*/ 3181618 h 3181618"/>
              <a:gd name="connsiteX6" fmla="*/ 0 w 3156832"/>
              <a:gd name="connsiteY6" fmla="*/ 2855898 h 3181618"/>
              <a:gd name="connsiteX7" fmla="*/ 0 w 3156832"/>
              <a:gd name="connsiteY7" fmla="*/ 325720 h 3181618"/>
              <a:gd name="connsiteX0" fmla="*/ 0 w 3162649"/>
              <a:gd name="connsiteY0" fmla="*/ 325720 h 3181618"/>
              <a:gd name="connsiteX1" fmla="*/ 325720 w 3162649"/>
              <a:gd name="connsiteY1" fmla="*/ 0 h 3181618"/>
              <a:gd name="connsiteX2" fmla="*/ 3162095 w 3162649"/>
              <a:gd name="connsiteY2" fmla="*/ 542 h 3181618"/>
              <a:gd name="connsiteX3" fmla="*/ 3154363 w 3162649"/>
              <a:gd name="connsiteY3" fmla="*/ 2855898 h 3181618"/>
              <a:gd name="connsiteX4" fmla="*/ 2828643 w 3162649"/>
              <a:gd name="connsiteY4" fmla="*/ 3181618 h 3181618"/>
              <a:gd name="connsiteX5" fmla="*/ 325720 w 3162649"/>
              <a:gd name="connsiteY5" fmla="*/ 3181618 h 3181618"/>
              <a:gd name="connsiteX6" fmla="*/ 0 w 3162649"/>
              <a:gd name="connsiteY6" fmla="*/ 2855898 h 3181618"/>
              <a:gd name="connsiteX7" fmla="*/ 0 w 3162649"/>
              <a:gd name="connsiteY7" fmla="*/ 325720 h 3181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2649" h="3181618">
                <a:moveTo>
                  <a:pt x="0" y="325720"/>
                </a:moveTo>
                <a:cubicBezTo>
                  <a:pt x="0" y="145830"/>
                  <a:pt x="145830" y="0"/>
                  <a:pt x="325720" y="0"/>
                </a:cubicBezTo>
                <a:lnTo>
                  <a:pt x="3162095" y="542"/>
                </a:lnTo>
                <a:cubicBezTo>
                  <a:pt x="3165184" y="8174"/>
                  <a:pt x="3154363" y="2325628"/>
                  <a:pt x="3154363" y="2855898"/>
                </a:cubicBezTo>
                <a:cubicBezTo>
                  <a:pt x="3154363" y="3035788"/>
                  <a:pt x="3008533" y="3181618"/>
                  <a:pt x="2828643" y="3181618"/>
                </a:cubicBezTo>
                <a:lnTo>
                  <a:pt x="325720" y="3181618"/>
                </a:lnTo>
                <a:cubicBezTo>
                  <a:pt x="145830" y="3181618"/>
                  <a:pt x="0" y="3035788"/>
                  <a:pt x="0" y="2855898"/>
                </a:cubicBezTo>
                <a:lnTo>
                  <a:pt x="0" y="325720"/>
                </a:lnTo>
                <a:close/>
              </a:path>
            </a:pathLst>
          </a:custGeom>
          <a:solidFill>
            <a:schemeClr val="accent1"/>
          </a:solidFill>
        </p:spPr>
        <p:txBody>
          <a:bodyPr lIns="274320" tIns="274320" rIns="274320" bIns="0" anchor="t" anchorCtr="0"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F3A12ABD-352C-1741-AEBB-E5208C6B1D0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5488" y="1280160"/>
            <a:ext cx="11243437" cy="1600517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95886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w/ 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A7AE24-3326-1146-8D5D-E89A268DDB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40662BF3-B2FA-CB48-B280-AD90B7548509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473076" y="1188720"/>
            <a:ext cx="11245850" cy="3520440"/>
          </a:xfrm>
          <a:prstGeom prst="rect">
            <a:avLst/>
          </a:prstGeom>
        </p:spPr>
        <p:txBody>
          <a:bodyPr lIns="137160" tIns="0" rIns="91440" bIns="0" numCol="2" spcCol="457200" anchor="t" anchorCtr="0"/>
          <a:lstStyle>
            <a:lvl1pPr marL="0" marR="0" indent="0" algn="l" defTabSz="54864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342900" indent="-342900" defTabSz="548640">
              <a:buFont typeface="Arial" panose="020B0604020202020204" pitchFamily="34" charset="0"/>
              <a:buChar char="•"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uismo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tincidun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u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laoreet</a:t>
            </a:r>
            <a:r>
              <a:rPr lang="en-US" sz="2000" b="0" i="0" dirty="0">
                <a:latin typeface="Speedee" panose="020B0603030502020204" pitchFamily="34" charset="0"/>
              </a:rPr>
              <a:t> dolore.</a:t>
            </a:r>
          </a:p>
          <a:p>
            <a:pPr marL="342900" indent="-342900" defTabSz="548640">
              <a:buFont typeface="Arial" panose="020B0604020202020204" pitchFamily="34" charset="0"/>
              <a:buChar char="•"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.</a:t>
            </a:r>
          </a:p>
          <a:p>
            <a:pPr marL="342900" marR="0" lvl="0" indent="-342900" algn="l" defTabSz="54864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uismo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tincidun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u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laoreet</a:t>
            </a:r>
            <a:r>
              <a:rPr lang="en-US" sz="2000" b="0" i="0" dirty="0">
                <a:latin typeface="Speedee" panose="020B0603030502020204" pitchFamily="34" charset="0"/>
              </a:rPr>
              <a:t> dolore.</a:t>
            </a:r>
          </a:p>
          <a:p>
            <a:pPr marL="342900" marR="0" lvl="0" indent="-342900" algn="l" defTabSz="54864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b="0" i="0" dirty="0">
              <a:latin typeface="Speedee" panose="020B0603030502020204" pitchFamily="34" charset="0"/>
            </a:endParaRPr>
          </a:p>
          <a:p>
            <a:pPr marL="342900" indent="-342900" defTabSz="548640">
              <a:buFont typeface="Arial" panose="020B0604020202020204" pitchFamily="34" charset="0"/>
              <a:buChar char="•"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uismo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tincidun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u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laoreet</a:t>
            </a:r>
            <a:r>
              <a:rPr lang="en-US" sz="2000" b="0" i="0" dirty="0">
                <a:latin typeface="Speedee" panose="020B0603030502020204" pitchFamily="34" charset="0"/>
              </a:rPr>
              <a:t> dolore.</a:t>
            </a:r>
          </a:p>
          <a:p>
            <a:pPr marL="342900" indent="-342900" defTabSz="548640">
              <a:buFont typeface="Arial" panose="020B0604020202020204" pitchFamily="34" charset="0"/>
              <a:buChar char="•"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.</a:t>
            </a:r>
          </a:p>
          <a:p>
            <a:pPr marL="342900" marR="0" lvl="0" indent="-342900" algn="l" defTabSz="54864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i="0" dirty="0">
                <a:latin typeface="Speedee" panose="020B0603030502020204" pitchFamily="34" charset="0"/>
              </a:rPr>
              <a:t>Lorem ipsum dolor sit </a:t>
            </a:r>
            <a:r>
              <a:rPr lang="en-US" sz="2000" b="0" i="0" dirty="0" err="1">
                <a:latin typeface="Speedee" panose="020B0603030502020204" pitchFamily="34" charset="0"/>
              </a:rPr>
              <a:t>ame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consectetuer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adipiscing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lit</a:t>
            </a:r>
            <a:r>
              <a:rPr lang="en-US" sz="2000" b="0" i="0" dirty="0">
                <a:latin typeface="Speedee" panose="020B0603030502020204" pitchFamily="34" charset="0"/>
              </a:rPr>
              <a:t>, </a:t>
            </a:r>
            <a:r>
              <a:rPr lang="en-US" sz="2000" b="0" i="0" dirty="0" err="1">
                <a:latin typeface="Speedee" panose="020B0603030502020204" pitchFamily="34" charset="0"/>
              </a:rPr>
              <a:t>se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diam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onummy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nibh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euismod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tincidun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ut</a:t>
            </a:r>
            <a:r>
              <a:rPr lang="en-US" sz="2000" b="0" i="0" dirty="0">
                <a:latin typeface="Speedee" panose="020B0603030502020204" pitchFamily="34" charset="0"/>
              </a:rPr>
              <a:t> </a:t>
            </a:r>
            <a:r>
              <a:rPr lang="en-US" sz="2000" b="0" i="0" dirty="0" err="1">
                <a:latin typeface="Speedee" panose="020B0603030502020204" pitchFamily="34" charset="0"/>
              </a:rPr>
              <a:t>laoreet</a:t>
            </a:r>
            <a:r>
              <a:rPr lang="en-US" sz="2000" b="0" i="0" dirty="0">
                <a:latin typeface="Speedee" panose="020B0603030502020204" pitchFamily="34" charset="0"/>
              </a:rPr>
              <a:t> dolore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8BE78C6-C573-FD4B-984B-0E74C4E818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0133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acke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56B44266-E799-43A5-AEE2-FD690652E7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95E225-00A7-D24B-9956-20D6DF1B603D}"/>
              </a:ext>
            </a:extLst>
          </p:cNvPr>
          <p:cNvGrpSpPr/>
          <p:nvPr/>
        </p:nvGrpSpPr>
        <p:grpSpPr>
          <a:xfrm>
            <a:off x="9748689" y="468283"/>
            <a:ext cx="1968750" cy="960120"/>
            <a:chOff x="9748689" y="468283"/>
            <a:chExt cx="1968750" cy="960120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BA049C9F-A642-5A44-B0E2-036C05BCB272}"/>
                </a:ext>
              </a:extLst>
            </p:cNvPr>
            <p:cNvCxnSpPr>
              <a:cxnSpLocks/>
            </p:cNvCxnSpPr>
            <p:nvPr/>
          </p:nvCxnSpPr>
          <p:spPr>
            <a:xfrm>
              <a:off x="9748689" y="550437"/>
              <a:ext cx="1968750" cy="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7173C8AF-5B46-CB4C-9067-D09F1C8E9E92}"/>
                </a:ext>
              </a:extLst>
            </p:cNvPr>
            <p:cNvCxnSpPr>
              <a:cxnSpLocks/>
            </p:cNvCxnSpPr>
            <p:nvPr/>
          </p:nvCxnSpPr>
          <p:spPr>
            <a:xfrm>
              <a:off x="11633001" y="468283"/>
              <a:ext cx="0" cy="960120"/>
            </a:xfrm>
            <a:prstGeom prst="line">
              <a:avLst/>
            </a:prstGeom>
            <a:ln w="177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22762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Half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59C9FB6-4D52-4E0A-B2EE-0F60917405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3074" y="457200"/>
            <a:ext cx="11250787" cy="2971800"/>
          </a:xfrm>
          <a:custGeom>
            <a:avLst/>
            <a:gdLst>
              <a:gd name="connsiteX0" fmla="*/ 0 w 11245851"/>
              <a:gd name="connsiteY0" fmla="*/ 278339 h 2971800"/>
              <a:gd name="connsiteX1" fmla="*/ 278339 w 11245851"/>
              <a:gd name="connsiteY1" fmla="*/ 0 h 2971800"/>
              <a:gd name="connsiteX2" fmla="*/ 10967512 w 11245851"/>
              <a:gd name="connsiteY2" fmla="*/ 0 h 2971800"/>
              <a:gd name="connsiteX3" fmla="*/ 11245851 w 11245851"/>
              <a:gd name="connsiteY3" fmla="*/ 278339 h 2971800"/>
              <a:gd name="connsiteX4" fmla="*/ 11245851 w 11245851"/>
              <a:gd name="connsiteY4" fmla="*/ 2693461 h 2971800"/>
              <a:gd name="connsiteX5" fmla="*/ 10967512 w 11245851"/>
              <a:gd name="connsiteY5" fmla="*/ 2971800 h 2971800"/>
              <a:gd name="connsiteX6" fmla="*/ 278339 w 11245851"/>
              <a:gd name="connsiteY6" fmla="*/ 2971800 h 2971800"/>
              <a:gd name="connsiteX7" fmla="*/ 0 w 11245851"/>
              <a:gd name="connsiteY7" fmla="*/ 2693461 h 2971800"/>
              <a:gd name="connsiteX8" fmla="*/ 0 w 11245851"/>
              <a:gd name="connsiteY8" fmla="*/ 278339 h 2971800"/>
              <a:gd name="connsiteX0" fmla="*/ 0 w 11858938"/>
              <a:gd name="connsiteY0" fmla="*/ 278339 h 2971800"/>
              <a:gd name="connsiteX1" fmla="*/ 278339 w 11858938"/>
              <a:gd name="connsiteY1" fmla="*/ 0 h 2971800"/>
              <a:gd name="connsiteX2" fmla="*/ 10967512 w 11858938"/>
              <a:gd name="connsiteY2" fmla="*/ 0 h 2971800"/>
              <a:gd name="connsiteX3" fmla="*/ 11245851 w 11858938"/>
              <a:gd name="connsiteY3" fmla="*/ 2693461 h 2971800"/>
              <a:gd name="connsiteX4" fmla="*/ 10967512 w 11858938"/>
              <a:gd name="connsiteY4" fmla="*/ 2971800 h 2971800"/>
              <a:gd name="connsiteX5" fmla="*/ 278339 w 11858938"/>
              <a:gd name="connsiteY5" fmla="*/ 2971800 h 2971800"/>
              <a:gd name="connsiteX6" fmla="*/ 0 w 11858938"/>
              <a:gd name="connsiteY6" fmla="*/ 2693461 h 2971800"/>
              <a:gd name="connsiteX7" fmla="*/ 0 w 11858938"/>
              <a:gd name="connsiteY7" fmla="*/ 278339 h 2971800"/>
              <a:gd name="connsiteX0" fmla="*/ 0 w 12061877"/>
              <a:gd name="connsiteY0" fmla="*/ 278339 h 2971800"/>
              <a:gd name="connsiteX1" fmla="*/ 278339 w 12061877"/>
              <a:gd name="connsiteY1" fmla="*/ 0 h 2971800"/>
              <a:gd name="connsiteX2" fmla="*/ 11250733 w 12061877"/>
              <a:gd name="connsiteY2" fmla="*/ 0 h 2971800"/>
              <a:gd name="connsiteX3" fmla="*/ 11245851 w 12061877"/>
              <a:gd name="connsiteY3" fmla="*/ 2693461 h 2971800"/>
              <a:gd name="connsiteX4" fmla="*/ 10967512 w 12061877"/>
              <a:gd name="connsiteY4" fmla="*/ 2971800 h 2971800"/>
              <a:gd name="connsiteX5" fmla="*/ 278339 w 12061877"/>
              <a:gd name="connsiteY5" fmla="*/ 2971800 h 2971800"/>
              <a:gd name="connsiteX6" fmla="*/ 0 w 12061877"/>
              <a:gd name="connsiteY6" fmla="*/ 2693461 h 2971800"/>
              <a:gd name="connsiteX7" fmla="*/ 0 w 12061877"/>
              <a:gd name="connsiteY7" fmla="*/ 278339 h 2971800"/>
              <a:gd name="connsiteX0" fmla="*/ 0 w 11327392"/>
              <a:gd name="connsiteY0" fmla="*/ 278339 h 2971800"/>
              <a:gd name="connsiteX1" fmla="*/ 278339 w 11327392"/>
              <a:gd name="connsiteY1" fmla="*/ 0 h 2971800"/>
              <a:gd name="connsiteX2" fmla="*/ 11250733 w 11327392"/>
              <a:gd name="connsiteY2" fmla="*/ 0 h 2971800"/>
              <a:gd name="connsiteX3" fmla="*/ 11245851 w 11327392"/>
              <a:gd name="connsiteY3" fmla="*/ 2693461 h 2971800"/>
              <a:gd name="connsiteX4" fmla="*/ 10967512 w 11327392"/>
              <a:gd name="connsiteY4" fmla="*/ 2971800 h 2971800"/>
              <a:gd name="connsiteX5" fmla="*/ 278339 w 11327392"/>
              <a:gd name="connsiteY5" fmla="*/ 2971800 h 2971800"/>
              <a:gd name="connsiteX6" fmla="*/ 0 w 11327392"/>
              <a:gd name="connsiteY6" fmla="*/ 2693461 h 2971800"/>
              <a:gd name="connsiteX7" fmla="*/ 0 w 11327392"/>
              <a:gd name="connsiteY7" fmla="*/ 278339 h 2971800"/>
              <a:gd name="connsiteX0" fmla="*/ 0 w 11250733"/>
              <a:gd name="connsiteY0" fmla="*/ 278339 h 2971800"/>
              <a:gd name="connsiteX1" fmla="*/ 278339 w 11250733"/>
              <a:gd name="connsiteY1" fmla="*/ 0 h 2971800"/>
              <a:gd name="connsiteX2" fmla="*/ 11250733 w 11250733"/>
              <a:gd name="connsiteY2" fmla="*/ 0 h 2971800"/>
              <a:gd name="connsiteX3" fmla="*/ 11245851 w 11250733"/>
              <a:gd name="connsiteY3" fmla="*/ 2693461 h 2971800"/>
              <a:gd name="connsiteX4" fmla="*/ 10967512 w 11250733"/>
              <a:gd name="connsiteY4" fmla="*/ 2971800 h 2971800"/>
              <a:gd name="connsiteX5" fmla="*/ 278339 w 11250733"/>
              <a:gd name="connsiteY5" fmla="*/ 2971800 h 2971800"/>
              <a:gd name="connsiteX6" fmla="*/ 0 w 11250733"/>
              <a:gd name="connsiteY6" fmla="*/ 2693461 h 2971800"/>
              <a:gd name="connsiteX7" fmla="*/ 0 w 11250733"/>
              <a:gd name="connsiteY7" fmla="*/ 278339 h 2971800"/>
              <a:gd name="connsiteX0" fmla="*/ 0 w 11250787"/>
              <a:gd name="connsiteY0" fmla="*/ 278339 h 2971800"/>
              <a:gd name="connsiteX1" fmla="*/ 278339 w 11250787"/>
              <a:gd name="connsiteY1" fmla="*/ 0 h 2971800"/>
              <a:gd name="connsiteX2" fmla="*/ 11250733 w 11250787"/>
              <a:gd name="connsiteY2" fmla="*/ 0 h 2971800"/>
              <a:gd name="connsiteX3" fmla="*/ 11245851 w 11250787"/>
              <a:gd name="connsiteY3" fmla="*/ 2693461 h 2971800"/>
              <a:gd name="connsiteX4" fmla="*/ 10967512 w 11250787"/>
              <a:gd name="connsiteY4" fmla="*/ 2971800 h 2971800"/>
              <a:gd name="connsiteX5" fmla="*/ 278339 w 11250787"/>
              <a:gd name="connsiteY5" fmla="*/ 2971800 h 2971800"/>
              <a:gd name="connsiteX6" fmla="*/ 0 w 11250787"/>
              <a:gd name="connsiteY6" fmla="*/ 2693461 h 2971800"/>
              <a:gd name="connsiteX7" fmla="*/ 0 w 11250787"/>
              <a:gd name="connsiteY7" fmla="*/ 278339 h 2971800"/>
              <a:gd name="connsiteX0" fmla="*/ 0 w 11250787"/>
              <a:gd name="connsiteY0" fmla="*/ 278339 h 2971800"/>
              <a:gd name="connsiteX1" fmla="*/ 278339 w 11250787"/>
              <a:gd name="connsiteY1" fmla="*/ 0 h 2971800"/>
              <a:gd name="connsiteX2" fmla="*/ 11250733 w 11250787"/>
              <a:gd name="connsiteY2" fmla="*/ 0 h 2971800"/>
              <a:gd name="connsiteX3" fmla="*/ 11245851 w 11250787"/>
              <a:gd name="connsiteY3" fmla="*/ 2693461 h 2971800"/>
              <a:gd name="connsiteX4" fmla="*/ 10967512 w 11250787"/>
              <a:gd name="connsiteY4" fmla="*/ 2971800 h 2971800"/>
              <a:gd name="connsiteX5" fmla="*/ 278339 w 11250787"/>
              <a:gd name="connsiteY5" fmla="*/ 2971800 h 2971800"/>
              <a:gd name="connsiteX6" fmla="*/ 0 w 11250787"/>
              <a:gd name="connsiteY6" fmla="*/ 2693461 h 2971800"/>
              <a:gd name="connsiteX7" fmla="*/ 0 w 11250787"/>
              <a:gd name="connsiteY7" fmla="*/ 278339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50787" h="2971800">
                <a:moveTo>
                  <a:pt x="0" y="278339"/>
                </a:moveTo>
                <a:cubicBezTo>
                  <a:pt x="0" y="124617"/>
                  <a:pt x="124617" y="0"/>
                  <a:pt x="278339" y="0"/>
                </a:cubicBezTo>
                <a:lnTo>
                  <a:pt x="11250733" y="0"/>
                </a:lnTo>
                <a:cubicBezTo>
                  <a:pt x="11251395" y="313608"/>
                  <a:pt x="11245851" y="2198161"/>
                  <a:pt x="11245851" y="2693461"/>
                </a:cubicBezTo>
                <a:cubicBezTo>
                  <a:pt x="11245851" y="2847183"/>
                  <a:pt x="11121234" y="2971800"/>
                  <a:pt x="10967512" y="2971800"/>
                </a:cubicBezTo>
                <a:lnTo>
                  <a:pt x="278339" y="2971800"/>
                </a:lnTo>
                <a:cubicBezTo>
                  <a:pt x="124617" y="2971800"/>
                  <a:pt x="0" y="2847183"/>
                  <a:pt x="0" y="2693461"/>
                </a:cubicBezTo>
                <a:lnTo>
                  <a:pt x="0" y="278339"/>
                </a:lnTo>
                <a:close/>
              </a:path>
            </a:pathLst>
          </a:custGeom>
          <a:solidFill>
            <a:schemeClr val="accent5"/>
          </a:solidFill>
          <a:ln w="38100">
            <a:noFill/>
            <a:miter lim="800000"/>
          </a:ln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noFill/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3075" y="3429000"/>
            <a:ext cx="11245849" cy="3200400"/>
          </a:xfrm>
        </p:spPr>
        <p:txBody>
          <a:bodyPr lIns="0" tIns="0" rIns="0" bIns="0" anchor="ctr" anchorCtr="0"/>
          <a:lstStyle>
            <a:lvl1pPr algn="ctr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A8CDBDBE-CCD7-44B3-831B-04900F3CC1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4652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4">
          <p15:clr>
            <a:srgbClr val="FBAE40"/>
          </p15:clr>
        </p15:guide>
        <p15:guide id="2" pos="7526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Square Right: Brow &amp;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8206E935-75A6-4050-BE93-44C6EB65AA4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3075" y="1325880"/>
            <a:ext cx="5165725" cy="5074920"/>
          </a:xfrm>
          <a:prstGeom prst="rect">
            <a:avLst/>
          </a:prstGeom>
        </p:spPr>
        <p:txBody>
          <a:bodyPr anchor="ctr" anchorCtr="0"/>
          <a:lstStyle>
            <a:lvl1pPr marL="230188" indent="-230188">
              <a:buClr>
                <a:schemeClr val="tx1"/>
              </a:buClr>
              <a:buFontTx/>
              <a:buBlip>
                <a:blip r:embed="rId3"/>
              </a:buBlip>
              <a:defRPr sz="2000"/>
            </a:lvl1pPr>
            <a:lvl2pPr>
              <a:buClr>
                <a:schemeClr val="tx1"/>
              </a:buCl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4CD852-C37E-B14B-860B-FE42C676A6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65927"/>
            <a:ext cx="5165725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0A8188DC-6A49-AE43-B6BF-32186F665DF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8876" y="453561"/>
            <a:ext cx="5638345" cy="5947240"/>
          </a:xfrm>
          <a:custGeom>
            <a:avLst/>
            <a:gdLst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4818040 w 5158611"/>
              <a:gd name="connsiteY2" fmla="*/ 0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8611"/>
              <a:gd name="connsiteY0" fmla="*/ 340840 h 5943869"/>
              <a:gd name="connsiteX1" fmla="*/ 340571 w 5158611"/>
              <a:gd name="connsiteY1" fmla="*/ 269 h 5943869"/>
              <a:gd name="connsiteX2" fmla="*/ 4818040 w 5158611"/>
              <a:gd name="connsiteY2" fmla="*/ 269 h 5943869"/>
              <a:gd name="connsiteX3" fmla="*/ 5158611 w 5158611"/>
              <a:gd name="connsiteY3" fmla="*/ 340840 h 5943869"/>
              <a:gd name="connsiteX4" fmla="*/ 5158611 w 5158611"/>
              <a:gd name="connsiteY4" fmla="*/ 5603298 h 5943869"/>
              <a:gd name="connsiteX5" fmla="*/ 4818040 w 5158611"/>
              <a:gd name="connsiteY5" fmla="*/ 5943869 h 5943869"/>
              <a:gd name="connsiteX6" fmla="*/ 340571 w 5158611"/>
              <a:gd name="connsiteY6" fmla="*/ 5943869 h 5943869"/>
              <a:gd name="connsiteX7" fmla="*/ 0 w 5158611"/>
              <a:gd name="connsiteY7" fmla="*/ 5603298 h 5943869"/>
              <a:gd name="connsiteX8" fmla="*/ 0 w 5158611"/>
              <a:gd name="connsiteY8" fmla="*/ 340840 h 5943869"/>
              <a:gd name="connsiteX0" fmla="*/ 0 w 5164500"/>
              <a:gd name="connsiteY0" fmla="*/ 356316 h 5959345"/>
              <a:gd name="connsiteX1" fmla="*/ 340571 w 5164500"/>
              <a:gd name="connsiteY1" fmla="*/ 15745 h 5959345"/>
              <a:gd name="connsiteX2" fmla="*/ 5143505 w 5164500"/>
              <a:gd name="connsiteY2" fmla="*/ 247 h 5959345"/>
              <a:gd name="connsiteX3" fmla="*/ 5158611 w 5164500"/>
              <a:gd name="connsiteY3" fmla="*/ 356316 h 5959345"/>
              <a:gd name="connsiteX4" fmla="*/ 5158611 w 5164500"/>
              <a:gd name="connsiteY4" fmla="*/ 5618774 h 5959345"/>
              <a:gd name="connsiteX5" fmla="*/ 4818040 w 5164500"/>
              <a:gd name="connsiteY5" fmla="*/ 5959345 h 5959345"/>
              <a:gd name="connsiteX6" fmla="*/ 340571 w 5164500"/>
              <a:gd name="connsiteY6" fmla="*/ 5959345 h 5959345"/>
              <a:gd name="connsiteX7" fmla="*/ 0 w 5164500"/>
              <a:gd name="connsiteY7" fmla="*/ 5618774 h 5959345"/>
              <a:gd name="connsiteX8" fmla="*/ 0 w 5164500"/>
              <a:gd name="connsiteY8" fmla="*/ 356316 h 5959345"/>
              <a:gd name="connsiteX0" fmla="*/ 0 w 5158611"/>
              <a:gd name="connsiteY0" fmla="*/ 356126 h 5959155"/>
              <a:gd name="connsiteX1" fmla="*/ 340571 w 5158611"/>
              <a:gd name="connsiteY1" fmla="*/ 15555 h 5959155"/>
              <a:gd name="connsiteX2" fmla="*/ 5143505 w 5158611"/>
              <a:gd name="connsiteY2" fmla="*/ 57 h 5959155"/>
              <a:gd name="connsiteX3" fmla="*/ 5158611 w 5158611"/>
              <a:gd name="connsiteY3" fmla="*/ 356126 h 5959155"/>
              <a:gd name="connsiteX4" fmla="*/ 5158611 w 5158611"/>
              <a:gd name="connsiteY4" fmla="*/ 5618584 h 5959155"/>
              <a:gd name="connsiteX5" fmla="*/ 4818040 w 5158611"/>
              <a:gd name="connsiteY5" fmla="*/ 5959155 h 5959155"/>
              <a:gd name="connsiteX6" fmla="*/ 340571 w 5158611"/>
              <a:gd name="connsiteY6" fmla="*/ 5959155 h 5959155"/>
              <a:gd name="connsiteX7" fmla="*/ 0 w 5158611"/>
              <a:gd name="connsiteY7" fmla="*/ 5618584 h 5959155"/>
              <a:gd name="connsiteX8" fmla="*/ 0 w 5158611"/>
              <a:gd name="connsiteY8" fmla="*/ 356126 h 5959155"/>
              <a:gd name="connsiteX0" fmla="*/ 0 w 5158611"/>
              <a:gd name="connsiteY0" fmla="*/ 343773 h 5946802"/>
              <a:gd name="connsiteX1" fmla="*/ 340571 w 5158611"/>
              <a:gd name="connsiteY1" fmla="*/ 3202 h 5946802"/>
              <a:gd name="connsiteX2" fmla="*/ 5151743 w 5158611"/>
              <a:gd name="connsiteY2" fmla="*/ 61 h 5946802"/>
              <a:gd name="connsiteX3" fmla="*/ 5158611 w 5158611"/>
              <a:gd name="connsiteY3" fmla="*/ 343773 h 5946802"/>
              <a:gd name="connsiteX4" fmla="*/ 5158611 w 5158611"/>
              <a:gd name="connsiteY4" fmla="*/ 5606231 h 5946802"/>
              <a:gd name="connsiteX5" fmla="*/ 4818040 w 5158611"/>
              <a:gd name="connsiteY5" fmla="*/ 5946802 h 5946802"/>
              <a:gd name="connsiteX6" fmla="*/ 340571 w 5158611"/>
              <a:gd name="connsiteY6" fmla="*/ 5946802 h 5946802"/>
              <a:gd name="connsiteX7" fmla="*/ 0 w 5158611"/>
              <a:gd name="connsiteY7" fmla="*/ 5606231 h 5946802"/>
              <a:gd name="connsiteX8" fmla="*/ 0 w 5158611"/>
              <a:gd name="connsiteY8" fmla="*/ 343773 h 5946802"/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5155862 w 5158611"/>
              <a:gd name="connsiteY2" fmla="*/ 978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9981"/>
              <a:gd name="connsiteY0" fmla="*/ 340571 h 5943600"/>
              <a:gd name="connsiteX1" fmla="*/ 340571 w 5159981"/>
              <a:gd name="connsiteY1" fmla="*/ 0 h 5943600"/>
              <a:gd name="connsiteX2" fmla="*/ 5159981 w 5159981"/>
              <a:gd name="connsiteY2" fmla="*/ 978 h 5943600"/>
              <a:gd name="connsiteX3" fmla="*/ 5158611 w 5159981"/>
              <a:gd name="connsiteY3" fmla="*/ 340571 h 5943600"/>
              <a:gd name="connsiteX4" fmla="*/ 5158611 w 5159981"/>
              <a:gd name="connsiteY4" fmla="*/ 5603029 h 5943600"/>
              <a:gd name="connsiteX5" fmla="*/ 4818040 w 5159981"/>
              <a:gd name="connsiteY5" fmla="*/ 5943600 h 5943600"/>
              <a:gd name="connsiteX6" fmla="*/ 340571 w 5159981"/>
              <a:gd name="connsiteY6" fmla="*/ 5943600 h 5943600"/>
              <a:gd name="connsiteX7" fmla="*/ 0 w 5159981"/>
              <a:gd name="connsiteY7" fmla="*/ 5603029 h 5943600"/>
              <a:gd name="connsiteX8" fmla="*/ 0 w 5159981"/>
              <a:gd name="connsiteY8" fmla="*/ 340571 h 5943600"/>
              <a:gd name="connsiteX0" fmla="*/ 0 w 5529501"/>
              <a:gd name="connsiteY0" fmla="*/ 340571 h 5943600"/>
              <a:gd name="connsiteX1" fmla="*/ 340571 w 5529501"/>
              <a:gd name="connsiteY1" fmla="*/ 0 h 5943600"/>
              <a:gd name="connsiteX2" fmla="*/ 5159981 w 5529501"/>
              <a:gd name="connsiteY2" fmla="*/ 978 h 5943600"/>
              <a:gd name="connsiteX3" fmla="*/ 5158611 w 5529501"/>
              <a:gd name="connsiteY3" fmla="*/ 5603029 h 5943600"/>
              <a:gd name="connsiteX4" fmla="*/ 4818040 w 5529501"/>
              <a:gd name="connsiteY4" fmla="*/ 5943600 h 5943600"/>
              <a:gd name="connsiteX5" fmla="*/ 340571 w 5529501"/>
              <a:gd name="connsiteY5" fmla="*/ 5943600 h 5943600"/>
              <a:gd name="connsiteX6" fmla="*/ 0 w 5529501"/>
              <a:gd name="connsiteY6" fmla="*/ 5603029 h 5943600"/>
              <a:gd name="connsiteX7" fmla="*/ 0 w 5529501"/>
              <a:gd name="connsiteY7" fmla="*/ 340571 h 5943600"/>
              <a:gd name="connsiteX0" fmla="*/ 0 w 5719881"/>
              <a:gd name="connsiteY0" fmla="*/ 340571 h 5943600"/>
              <a:gd name="connsiteX1" fmla="*/ 340571 w 5719881"/>
              <a:gd name="connsiteY1" fmla="*/ 0 h 5943600"/>
              <a:gd name="connsiteX2" fmla="*/ 5159981 w 5719881"/>
              <a:gd name="connsiteY2" fmla="*/ 978 h 5943600"/>
              <a:gd name="connsiteX3" fmla="*/ 5158611 w 5719881"/>
              <a:gd name="connsiteY3" fmla="*/ 5603029 h 5943600"/>
              <a:gd name="connsiteX4" fmla="*/ 4818040 w 5719881"/>
              <a:gd name="connsiteY4" fmla="*/ 5943600 h 5943600"/>
              <a:gd name="connsiteX5" fmla="*/ 340571 w 5719881"/>
              <a:gd name="connsiteY5" fmla="*/ 5943600 h 5943600"/>
              <a:gd name="connsiteX6" fmla="*/ 0 w 5719881"/>
              <a:gd name="connsiteY6" fmla="*/ 5603029 h 5943600"/>
              <a:gd name="connsiteX7" fmla="*/ 0 w 5719881"/>
              <a:gd name="connsiteY7" fmla="*/ 340571 h 5943600"/>
              <a:gd name="connsiteX0" fmla="*/ 0 w 5184144"/>
              <a:gd name="connsiteY0" fmla="*/ 340571 h 5943600"/>
              <a:gd name="connsiteX1" fmla="*/ 340571 w 5184144"/>
              <a:gd name="connsiteY1" fmla="*/ 0 h 5943600"/>
              <a:gd name="connsiteX2" fmla="*/ 5159981 w 5184144"/>
              <a:gd name="connsiteY2" fmla="*/ 978 h 5943600"/>
              <a:gd name="connsiteX3" fmla="*/ 5158611 w 5184144"/>
              <a:gd name="connsiteY3" fmla="*/ 5603029 h 5943600"/>
              <a:gd name="connsiteX4" fmla="*/ 4818040 w 5184144"/>
              <a:gd name="connsiteY4" fmla="*/ 5943600 h 5943600"/>
              <a:gd name="connsiteX5" fmla="*/ 340571 w 5184144"/>
              <a:gd name="connsiteY5" fmla="*/ 5943600 h 5943600"/>
              <a:gd name="connsiteX6" fmla="*/ 0 w 5184144"/>
              <a:gd name="connsiteY6" fmla="*/ 5603029 h 5943600"/>
              <a:gd name="connsiteX7" fmla="*/ 0 w 5184144"/>
              <a:gd name="connsiteY7" fmla="*/ 340571 h 5943600"/>
              <a:gd name="connsiteX0" fmla="*/ 0 w 5194160"/>
              <a:gd name="connsiteY0" fmla="*/ 340571 h 5943600"/>
              <a:gd name="connsiteX1" fmla="*/ 340571 w 5194160"/>
              <a:gd name="connsiteY1" fmla="*/ 0 h 5943600"/>
              <a:gd name="connsiteX2" fmla="*/ 5187482 w 5194160"/>
              <a:gd name="connsiteY2" fmla="*/ 978 h 5943600"/>
              <a:gd name="connsiteX3" fmla="*/ 5158611 w 5194160"/>
              <a:gd name="connsiteY3" fmla="*/ 5603029 h 5943600"/>
              <a:gd name="connsiteX4" fmla="*/ 4818040 w 5194160"/>
              <a:gd name="connsiteY4" fmla="*/ 5943600 h 5943600"/>
              <a:gd name="connsiteX5" fmla="*/ 340571 w 5194160"/>
              <a:gd name="connsiteY5" fmla="*/ 5943600 h 5943600"/>
              <a:gd name="connsiteX6" fmla="*/ 0 w 5194160"/>
              <a:gd name="connsiteY6" fmla="*/ 5603029 h 5943600"/>
              <a:gd name="connsiteX7" fmla="*/ 0 w 5194160"/>
              <a:gd name="connsiteY7" fmla="*/ 340571 h 5943600"/>
              <a:gd name="connsiteX0" fmla="*/ 0 w 5911768"/>
              <a:gd name="connsiteY0" fmla="*/ 340571 h 5943600"/>
              <a:gd name="connsiteX1" fmla="*/ 340571 w 5911768"/>
              <a:gd name="connsiteY1" fmla="*/ 0 h 5943600"/>
              <a:gd name="connsiteX2" fmla="*/ 5187482 w 5911768"/>
              <a:gd name="connsiteY2" fmla="*/ 978 h 5943600"/>
              <a:gd name="connsiteX3" fmla="*/ 5158611 w 5911768"/>
              <a:gd name="connsiteY3" fmla="*/ 5603029 h 5943600"/>
              <a:gd name="connsiteX4" fmla="*/ 4818040 w 5911768"/>
              <a:gd name="connsiteY4" fmla="*/ 5943600 h 5943600"/>
              <a:gd name="connsiteX5" fmla="*/ 340571 w 5911768"/>
              <a:gd name="connsiteY5" fmla="*/ 5943600 h 5943600"/>
              <a:gd name="connsiteX6" fmla="*/ 0 w 5911768"/>
              <a:gd name="connsiteY6" fmla="*/ 5603029 h 5943600"/>
              <a:gd name="connsiteX7" fmla="*/ 0 w 5911768"/>
              <a:gd name="connsiteY7" fmla="*/ 340571 h 5943600"/>
              <a:gd name="connsiteX0" fmla="*/ 0 w 5193729"/>
              <a:gd name="connsiteY0" fmla="*/ 340571 h 5943600"/>
              <a:gd name="connsiteX1" fmla="*/ 340571 w 5193729"/>
              <a:gd name="connsiteY1" fmla="*/ 0 h 5943600"/>
              <a:gd name="connsiteX2" fmla="*/ 5187482 w 5193729"/>
              <a:gd name="connsiteY2" fmla="*/ 978 h 5943600"/>
              <a:gd name="connsiteX3" fmla="*/ 5158611 w 5193729"/>
              <a:gd name="connsiteY3" fmla="*/ 5603029 h 5943600"/>
              <a:gd name="connsiteX4" fmla="*/ 4818040 w 5193729"/>
              <a:gd name="connsiteY4" fmla="*/ 5943600 h 5943600"/>
              <a:gd name="connsiteX5" fmla="*/ 340571 w 5193729"/>
              <a:gd name="connsiteY5" fmla="*/ 5943600 h 5943600"/>
              <a:gd name="connsiteX6" fmla="*/ 0 w 5193729"/>
              <a:gd name="connsiteY6" fmla="*/ 5603029 h 5943600"/>
              <a:gd name="connsiteX7" fmla="*/ 0 w 5193729"/>
              <a:gd name="connsiteY7" fmla="*/ 340571 h 5943600"/>
              <a:gd name="connsiteX0" fmla="*/ 0 w 5191281"/>
              <a:gd name="connsiteY0" fmla="*/ 340571 h 5943600"/>
              <a:gd name="connsiteX1" fmla="*/ 340571 w 5191281"/>
              <a:gd name="connsiteY1" fmla="*/ 0 h 5943600"/>
              <a:gd name="connsiteX2" fmla="*/ 5187482 w 5191281"/>
              <a:gd name="connsiteY2" fmla="*/ 978 h 5943600"/>
              <a:gd name="connsiteX3" fmla="*/ 5158611 w 5191281"/>
              <a:gd name="connsiteY3" fmla="*/ 5603029 h 5943600"/>
              <a:gd name="connsiteX4" fmla="*/ 4818040 w 5191281"/>
              <a:gd name="connsiteY4" fmla="*/ 5943600 h 5943600"/>
              <a:gd name="connsiteX5" fmla="*/ 340571 w 5191281"/>
              <a:gd name="connsiteY5" fmla="*/ 5943600 h 5943600"/>
              <a:gd name="connsiteX6" fmla="*/ 0 w 5191281"/>
              <a:gd name="connsiteY6" fmla="*/ 5603029 h 5943600"/>
              <a:gd name="connsiteX7" fmla="*/ 0 w 5191281"/>
              <a:gd name="connsiteY7" fmla="*/ 340571 h 5943600"/>
              <a:gd name="connsiteX0" fmla="*/ 0 w 5197650"/>
              <a:gd name="connsiteY0" fmla="*/ 340571 h 5943600"/>
              <a:gd name="connsiteX1" fmla="*/ 340571 w 5197650"/>
              <a:gd name="connsiteY1" fmla="*/ 0 h 5943600"/>
              <a:gd name="connsiteX2" fmla="*/ 5187482 w 5197650"/>
              <a:gd name="connsiteY2" fmla="*/ 978 h 5943600"/>
              <a:gd name="connsiteX3" fmla="*/ 5158611 w 5197650"/>
              <a:gd name="connsiteY3" fmla="*/ 5603029 h 5943600"/>
              <a:gd name="connsiteX4" fmla="*/ 4818040 w 5197650"/>
              <a:gd name="connsiteY4" fmla="*/ 5943600 h 5943600"/>
              <a:gd name="connsiteX5" fmla="*/ 340571 w 5197650"/>
              <a:gd name="connsiteY5" fmla="*/ 5943600 h 5943600"/>
              <a:gd name="connsiteX6" fmla="*/ 0 w 5197650"/>
              <a:gd name="connsiteY6" fmla="*/ 5603029 h 5943600"/>
              <a:gd name="connsiteX7" fmla="*/ 0 w 5197650"/>
              <a:gd name="connsiteY7" fmla="*/ 340571 h 5943600"/>
              <a:gd name="connsiteX0" fmla="*/ 0 w 5187840"/>
              <a:gd name="connsiteY0" fmla="*/ 340571 h 5943600"/>
              <a:gd name="connsiteX1" fmla="*/ 340571 w 5187840"/>
              <a:gd name="connsiteY1" fmla="*/ 0 h 5943600"/>
              <a:gd name="connsiteX2" fmla="*/ 5187482 w 5187840"/>
              <a:gd name="connsiteY2" fmla="*/ 978 h 5943600"/>
              <a:gd name="connsiteX3" fmla="*/ 5158611 w 5187840"/>
              <a:gd name="connsiteY3" fmla="*/ 5603029 h 5943600"/>
              <a:gd name="connsiteX4" fmla="*/ 4818040 w 5187840"/>
              <a:gd name="connsiteY4" fmla="*/ 5943600 h 5943600"/>
              <a:gd name="connsiteX5" fmla="*/ 340571 w 5187840"/>
              <a:gd name="connsiteY5" fmla="*/ 5943600 h 5943600"/>
              <a:gd name="connsiteX6" fmla="*/ 0 w 5187840"/>
              <a:gd name="connsiteY6" fmla="*/ 5603029 h 5943600"/>
              <a:gd name="connsiteX7" fmla="*/ 0 w 5187840"/>
              <a:gd name="connsiteY7" fmla="*/ 340571 h 5943600"/>
              <a:gd name="connsiteX0" fmla="*/ 0 w 5178736"/>
              <a:gd name="connsiteY0" fmla="*/ 344211 h 5947240"/>
              <a:gd name="connsiteX1" fmla="*/ 340571 w 5178736"/>
              <a:gd name="connsiteY1" fmla="*/ 3640 h 5947240"/>
              <a:gd name="connsiteX2" fmla="*/ 5178246 w 5178736"/>
              <a:gd name="connsiteY2" fmla="*/ 0 h 5947240"/>
              <a:gd name="connsiteX3" fmla="*/ 5158611 w 5178736"/>
              <a:gd name="connsiteY3" fmla="*/ 5606669 h 5947240"/>
              <a:gd name="connsiteX4" fmla="*/ 4818040 w 5178736"/>
              <a:gd name="connsiteY4" fmla="*/ 5947240 h 5947240"/>
              <a:gd name="connsiteX5" fmla="*/ 340571 w 5178736"/>
              <a:gd name="connsiteY5" fmla="*/ 5947240 h 5947240"/>
              <a:gd name="connsiteX6" fmla="*/ 0 w 5178736"/>
              <a:gd name="connsiteY6" fmla="*/ 5606669 h 5947240"/>
              <a:gd name="connsiteX7" fmla="*/ 0 w 5178736"/>
              <a:gd name="connsiteY7" fmla="*/ 344211 h 5947240"/>
              <a:gd name="connsiteX0" fmla="*/ 0 w 5161607"/>
              <a:gd name="connsiteY0" fmla="*/ 344211 h 5947240"/>
              <a:gd name="connsiteX1" fmla="*/ 340571 w 5161607"/>
              <a:gd name="connsiteY1" fmla="*/ 3640 h 5947240"/>
              <a:gd name="connsiteX2" fmla="*/ 5159773 w 5161607"/>
              <a:gd name="connsiteY2" fmla="*/ 0 h 5947240"/>
              <a:gd name="connsiteX3" fmla="*/ 5158611 w 5161607"/>
              <a:gd name="connsiteY3" fmla="*/ 5606669 h 5947240"/>
              <a:gd name="connsiteX4" fmla="*/ 4818040 w 5161607"/>
              <a:gd name="connsiteY4" fmla="*/ 5947240 h 5947240"/>
              <a:gd name="connsiteX5" fmla="*/ 340571 w 5161607"/>
              <a:gd name="connsiteY5" fmla="*/ 5947240 h 5947240"/>
              <a:gd name="connsiteX6" fmla="*/ 0 w 5161607"/>
              <a:gd name="connsiteY6" fmla="*/ 5606669 h 5947240"/>
              <a:gd name="connsiteX7" fmla="*/ 0 w 5161607"/>
              <a:gd name="connsiteY7" fmla="*/ 344211 h 5947240"/>
              <a:gd name="connsiteX0" fmla="*/ 468923 w 5630530"/>
              <a:gd name="connsiteY0" fmla="*/ 344211 h 5947240"/>
              <a:gd name="connsiteX1" fmla="*/ 809494 w 5630530"/>
              <a:gd name="connsiteY1" fmla="*/ 3640 h 5947240"/>
              <a:gd name="connsiteX2" fmla="*/ 5628696 w 5630530"/>
              <a:gd name="connsiteY2" fmla="*/ 0 h 5947240"/>
              <a:gd name="connsiteX3" fmla="*/ 5627534 w 5630530"/>
              <a:gd name="connsiteY3" fmla="*/ 5606669 h 5947240"/>
              <a:gd name="connsiteX4" fmla="*/ 5286963 w 5630530"/>
              <a:gd name="connsiteY4" fmla="*/ 5947240 h 5947240"/>
              <a:gd name="connsiteX5" fmla="*/ 809494 w 5630530"/>
              <a:gd name="connsiteY5" fmla="*/ 5947240 h 5947240"/>
              <a:gd name="connsiteX6" fmla="*/ 0 w 5630530"/>
              <a:gd name="connsiteY6" fmla="*/ 5598853 h 5947240"/>
              <a:gd name="connsiteX7" fmla="*/ 468923 w 5630530"/>
              <a:gd name="connsiteY7" fmla="*/ 344211 h 5947240"/>
              <a:gd name="connsiteX0" fmla="*/ 0 w 5638345"/>
              <a:gd name="connsiteY0" fmla="*/ 352027 h 5947240"/>
              <a:gd name="connsiteX1" fmla="*/ 817309 w 5638345"/>
              <a:gd name="connsiteY1" fmla="*/ 3640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817309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817309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293678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364016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356202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364016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38345" h="5947240">
                <a:moveTo>
                  <a:pt x="0" y="352027"/>
                </a:moveTo>
                <a:cubicBezTo>
                  <a:pt x="0" y="163935"/>
                  <a:pt x="168110" y="11455"/>
                  <a:pt x="356202" y="11455"/>
                </a:cubicBezTo>
                <a:lnTo>
                  <a:pt x="5636511" y="0"/>
                </a:lnTo>
                <a:cubicBezTo>
                  <a:pt x="5640547" y="2407"/>
                  <a:pt x="5636886" y="4630086"/>
                  <a:pt x="5635349" y="5606669"/>
                </a:cubicBezTo>
                <a:cubicBezTo>
                  <a:pt x="5635349" y="5794761"/>
                  <a:pt x="5482870" y="5947240"/>
                  <a:pt x="5294778" y="5947240"/>
                </a:cubicBezTo>
                <a:lnTo>
                  <a:pt x="364016" y="5947240"/>
                </a:lnTo>
                <a:cubicBezTo>
                  <a:pt x="175924" y="5947240"/>
                  <a:pt x="7815" y="5786945"/>
                  <a:pt x="7815" y="5598853"/>
                </a:cubicBezTo>
                <a:lnTo>
                  <a:pt x="0" y="352027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>
              <a:buFontTx/>
              <a:buNone/>
              <a:defRPr lang="en-US" sz="1800" dirty="0">
                <a:noFill/>
              </a:defRPr>
            </a:lvl1pPr>
          </a:lstStyle>
          <a:p>
            <a:pPr lvl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3D8097F-9D9E-2647-B5DA-D73437AF743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94308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 Recangle Left: Brow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D865E613-40AA-2042-8BBE-482E69E35B1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656320" y="1737360"/>
            <a:ext cx="3062606" cy="4663439"/>
          </a:xfrm>
          <a:prstGeom prst="rect">
            <a:avLst/>
          </a:prstGeom>
        </p:spPr>
        <p:txBody>
          <a:bodyPr anchor="ctr" anchorCtr="0"/>
          <a:lstStyle>
            <a:lvl1pPr marL="230188" indent="-230188">
              <a:buClr>
                <a:schemeClr val="tx1"/>
              </a:buClr>
              <a:buFontTx/>
              <a:buBlip>
                <a:blip r:embed="rId3"/>
              </a:buBlip>
              <a:defRPr sz="2000"/>
            </a:lvl1pPr>
            <a:lvl2pPr>
              <a:buClr>
                <a:schemeClr val="tx1"/>
              </a:buCl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1679306A-E035-CE47-A814-D4626EE17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6319" y="457200"/>
            <a:ext cx="3062607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F1C0D3B4-289D-B34A-939F-B8FEDE5CF5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3075" y="453561"/>
            <a:ext cx="7724192" cy="5947240"/>
          </a:xfrm>
          <a:custGeom>
            <a:avLst/>
            <a:gdLst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4818040 w 5158611"/>
              <a:gd name="connsiteY2" fmla="*/ 0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8611"/>
              <a:gd name="connsiteY0" fmla="*/ 340840 h 5943869"/>
              <a:gd name="connsiteX1" fmla="*/ 340571 w 5158611"/>
              <a:gd name="connsiteY1" fmla="*/ 269 h 5943869"/>
              <a:gd name="connsiteX2" fmla="*/ 4818040 w 5158611"/>
              <a:gd name="connsiteY2" fmla="*/ 269 h 5943869"/>
              <a:gd name="connsiteX3" fmla="*/ 5158611 w 5158611"/>
              <a:gd name="connsiteY3" fmla="*/ 340840 h 5943869"/>
              <a:gd name="connsiteX4" fmla="*/ 5158611 w 5158611"/>
              <a:gd name="connsiteY4" fmla="*/ 5603298 h 5943869"/>
              <a:gd name="connsiteX5" fmla="*/ 4818040 w 5158611"/>
              <a:gd name="connsiteY5" fmla="*/ 5943869 h 5943869"/>
              <a:gd name="connsiteX6" fmla="*/ 340571 w 5158611"/>
              <a:gd name="connsiteY6" fmla="*/ 5943869 h 5943869"/>
              <a:gd name="connsiteX7" fmla="*/ 0 w 5158611"/>
              <a:gd name="connsiteY7" fmla="*/ 5603298 h 5943869"/>
              <a:gd name="connsiteX8" fmla="*/ 0 w 5158611"/>
              <a:gd name="connsiteY8" fmla="*/ 340840 h 5943869"/>
              <a:gd name="connsiteX0" fmla="*/ 0 w 5164500"/>
              <a:gd name="connsiteY0" fmla="*/ 356316 h 5959345"/>
              <a:gd name="connsiteX1" fmla="*/ 340571 w 5164500"/>
              <a:gd name="connsiteY1" fmla="*/ 15745 h 5959345"/>
              <a:gd name="connsiteX2" fmla="*/ 5143505 w 5164500"/>
              <a:gd name="connsiteY2" fmla="*/ 247 h 5959345"/>
              <a:gd name="connsiteX3" fmla="*/ 5158611 w 5164500"/>
              <a:gd name="connsiteY3" fmla="*/ 356316 h 5959345"/>
              <a:gd name="connsiteX4" fmla="*/ 5158611 w 5164500"/>
              <a:gd name="connsiteY4" fmla="*/ 5618774 h 5959345"/>
              <a:gd name="connsiteX5" fmla="*/ 4818040 w 5164500"/>
              <a:gd name="connsiteY5" fmla="*/ 5959345 h 5959345"/>
              <a:gd name="connsiteX6" fmla="*/ 340571 w 5164500"/>
              <a:gd name="connsiteY6" fmla="*/ 5959345 h 5959345"/>
              <a:gd name="connsiteX7" fmla="*/ 0 w 5164500"/>
              <a:gd name="connsiteY7" fmla="*/ 5618774 h 5959345"/>
              <a:gd name="connsiteX8" fmla="*/ 0 w 5164500"/>
              <a:gd name="connsiteY8" fmla="*/ 356316 h 5959345"/>
              <a:gd name="connsiteX0" fmla="*/ 0 w 5158611"/>
              <a:gd name="connsiteY0" fmla="*/ 356126 h 5959155"/>
              <a:gd name="connsiteX1" fmla="*/ 340571 w 5158611"/>
              <a:gd name="connsiteY1" fmla="*/ 15555 h 5959155"/>
              <a:gd name="connsiteX2" fmla="*/ 5143505 w 5158611"/>
              <a:gd name="connsiteY2" fmla="*/ 57 h 5959155"/>
              <a:gd name="connsiteX3" fmla="*/ 5158611 w 5158611"/>
              <a:gd name="connsiteY3" fmla="*/ 356126 h 5959155"/>
              <a:gd name="connsiteX4" fmla="*/ 5158611 w 5158611"/>
              <a:gd name="connsiteY4" fmla="*/ 5618584 h 5959155"/>
              <a:gd name="connsiteX5" fmla="*/ 4818040 w 5158611"/>
              <a:gd name="connsiteY5" fmla="*/ 5959155 h 5959155"/>
              <a:gd name="connsiteX6" fmla="*/ 340571 w 5158611"/>
              <a:gd name="connsiteY6" fmla="*/ 5959155 h 5959155"/>
              <a:gd name="connsiteX7" fmla="*/ 0 w 5158611"/>
              <a:gd name="connsiteY7" fmla="*/ 5618584 h 5959155"/>
              <a:gd name="connsiteX8" fmla="*/ 0 w 5158611"/>
              <a:gd name="connsiteY8" fmla="*/ 356126 h 5959155"/>
              <a:gd name="connsiteX0" fmla="*/ 0 w 5158611"/>
              <a:gd name="connsiteY0" fmla="*/ 343773 h 5946802"/>
              <a:gd name="connsiteX1" fmla="*/ 340571 w 5158611"/>
              <a:gd name="connsiteY1" fmla="*/ 3202 h 5946802"/>
              <a:gd name="connsiteX2" fmla="*/ 5151743 w 5158611"/>
              <a:gd name="connsiteY2" fmla="*/ 61 h 5946802"/>
              <a:gd name="connsiteX3" fmla="*/ 5158611 w 5158611"/>
              <a:gd name="connsiteY3" fmla="*/ 343773 h 5946802"/>
              <a:gd name="connsiteX4" fmla="*/ 5158611 w 5158611"/>
              <a:gd name="connsiteY4" fmla="*/ 5606231 h 5946802"/>
              <a:gd name="connsiteX5" fmla="*/ 4818040 w 5158611"/>
              <a:gd name="connsiteY5" fmla="*/ 5946802 h 5946802"/>
              <a:gd name="connsiteX6" fmla="*/ 340571 w 5158611"/>
              <a:gd name="connsiteY6" fmla="*/ 5946802 h 5946802"/>
              <a:gd name="connsiteX7" fmla="*/ 0 w 5158611"/>
              <a:gd name="connsiteY7" fmla="*/ 5606231 h 5946802"/>
              <a:gd name="connsiteX8" fmla="*/ 0 w 5158611"/>
              <a:gd name="connsiteY8" fmla="*/ 343773 h 5946802"/>
              <a:gd name="connsiteX0" fmla="*/ 0 w 5158611"/>
              <a:gd name="connsiteY0" fmla="*/ 340571 h 5943600"/>
              <a:gd name="connsiteX1" fmla="*/ 340571 w 5158611"/>
              <a:gd name="connsiteY1" fmla="*/ 0 h 5943600"/>
              <a:gd name="connsiteX2" fmla="*/ 5155862 w 5158611"/>
              <a:gd name="connsiteY2" fmla="*/ 978 h 5943600"/>
              <a:gd name="connsiteX3" fmla="*/ 5158611 w 5158611"/>
              <a:gd name="connsiteY3" fmla="*/ 340571 h 5943600"/>
              <a:gd name="connsiteX4" fmla="*/ 5158611 w 5158611"/>
              <a:gd name="connsiteY4" fmla="*/ 5603029 h 5943600"/>
              <a:gd name="connsiteX5" fmla="*/ 4818040 w 5158611"/>
              <a:gd name="connsiteY5" fmla="*/ 5943600 h 5943600"/>
              <a:gd name="connsiteX6" fmla="*/ 340571 w 5158611"/>
              <a:gd name="connsiteY6" fmla="*/ 5943600 h 5943600"/>
              <a:gd name="connsiteX7" fmla="*/ 0 w 5158611"/>
              <a:gd name="connsiteY7" fmla="*/ 5603029 h 5943600"/>
              <a:gd name="connsiteX8" fmla="*/ 0 w 5158611"/>
              <a:gd name="connsiteY8" fmla="*/ 340571 h 5943600"/>
              <a:gd name="connsiteX0" fmla="*/ 0 w 5159981"/>
              <a:gd name="connsiteY0" fmla="*/ 340571 h 5943600"/>
              <a:gd name="connsiteX1" fmla="*/ 340571 w 5159981"/>
              <a:gd name="connsiteY1" fmla="*/ 0 h 5943600"/>
              <a:gd name="connsiteX2" fmla="*/ 5159981 w 5159981"/>
              <a:gd name="connsiteY2" fmla="*/ 978 h 5943600"/>
              <a:gd name="connsiteX3" fmla="*/ 5158611 w 5159981"/>
              <a:gd name="connsiteY3" fmla="*/ 340571 h 5943600"/>
              <a:gd name="connsiteX4" fmla="*/ 5158611 w 5159981"/>
              <a:gd name="connsiteY4" fmla="*/ 5603029 h 5943600"/>
              <a:gd name="connsiteX5" fmla="*/ 4818040 w 5159981"/>
              <a:gd name="connsiteY5" fmla="*/ 5943600 h 5943600"/>
              <a:gd name="connsiteX6" fmla="*/ 340571 w 5159981"/>
              <a:gd name="connsiteY6" fmla="*/ 5943600 h 5943600"/>
              <a:gd name="connsiteX7" fmla="*/ 0 w 5159981"/>
              <a:gd name="connsiteY7" fmla="*/ 5603029 h 5943600"/>
              <a:gd name="connsiteX8" fmla="*/ 0 w 5159981"/>
              <a:gd name="connsiteY8" fmla="*/ 340571 h 5943600"/>
              <a:gd name="connsiteX0" fmla="*/ 0 w 5529501"/>
              <a:gd name="connsiteY0" fmla="*/ 340571 h 5943600"/>
              <a:gd name="connsiteX1" fmla="*/ 340571 w 5529501"/>
              <a:gd name="connsiteY1" fmla="*/ 0 h 5943600"/>
              <a:gd name="connsiteX2" fmla="*/ 5159981 w 5529501"/>
              <a:gd name="connsiteY2" fmla="*/ 978 h 5943600"/>
              <a:gd name="connsiteX3" fmla="*/ 5158611 w 5529501"/>
              <a:gd name="connsiteY3" fmla="*/ 5603029 h 5943600"/>
              <a:gd name="connsiteX4" fmla="*/ 4818040 w 5529501"/>
              <a:gd name="connsiteY4" fmla="*/ 5943600 h 5943600"/>
              <a:gd name="connsiteX5" fmla="*/ 340571 w 5529501"/>
              <a:gd name="connsiteY5" fmla="*/ 5943600 h 5943600"/>
              <a:gd name="connsiteX6" fmla="*/ 0 w 5529501"/>
              <a:gd name="connsiteY6" fmla="*/ 5603029 h 5943600"/>
              <a:gd name="connsiteX7" fmla="*/ 0 w 5529501"/>
              <a:gd name="connsiteY7" fmla="*/ 340571 h 5943600"/>
              <a:gd name="connsiteX0" fmla="*/ 0 w 5719881"/>
              <a:gd name="connsiteY0" fmla="*/ 340571 h 5943600"/>
              <a:gd name="connsiteX1" fmla="*/ 340571 w 5719881"/>
              <a:gd name="connsiteY1" fmla="*/ 0 h 5943600"/>
              <a:gd name="connsiteX2" fmla="*/ 5159981 w 5719881"/>
              <a:gd name="connsiteY2" fmla="*/ 978 h 5943600"/>
              <a:gd name="connsiteX3" fmla="*/ 5158611 w 5719881"/>
              <a:gd name="connsiteY3" fmla="*/ 5603029 h 5943600"/>
              <a:gd name="connsiteX4" fmla="*/ 4818040 w 5719881"/>
              <a:gd name="connsiteY4" fmla="*/ 5943600 h 5943600"/>
              <a:gd name="connsiteX5" fmla="*/ 340571 w 5719881"/>
              <a:gd name="connsiteY5" fmla="*/ 5943600 h 5943600"/>
              <a:gd name="connsiteX6" fmla="*/ 0 w 5719881"/>
              <a:gd name="connsiteY6" fmla="*/ 5603029 h 5943600"/>
              <a:gd name="connsiteX7" fmla="*/ 0 w 5719881"/>
              <a:gd name="connsiteY7" fmla="*/ 340571 h 5943600"/>
              <a:gd name="connsiteX0" fmla="*/ 0 w 5184144"/>
              <a:gd name="connsiteY0" fmla="*/ 340571 h 5943600"/>
              <a:gd name="connsiteX1" fmla="*/ 340571 w 5184144"/>
              <a:gd name="connsiteY1" fmla="*/ 0 h 5943600"/>
              <a:gd name="connsiteX2" fmla="*/ 5159981 w 5184144"/>
              <a:gd name="connsiteY2" fmla="*/ 978 h 5943600"/>
              <a:gd name="connsiteX3" fmla="*/ 5158611 w 5184144"/>
              <a:gd name="connsiteY3" fmla="*/ 5603029 h 5943600"/>
              <a:gd name="connsiteX4" fmla="*/ 4818040 w 5184144"/>
              <a:gd name="connsiteY4" fmla="*/ 5943600 h 5943600"/>
              <a:gd name="connsiteX5" fmla="*/ 340571 w 5184144"/>
              <a:gd name="connsiteY5" fmla="*/ 5943600 h 5943600"/>
              <a:gd name="connsiteX6" fmla="*/ 0 w 5184144"/>
              <a:gd name="connsiteY6" fmla="*/ 5603029 h 5943600"/>
              <a:gd name="connsiteX7" fmla="*/ 0 w 5184144"/>
              <a:gd name="connsiteY7" fmla="*/ 340571 h 5943600"/>
              <a:gd name="connsiteX0" fmla="*/ 0 w 5194160"/>
              <a:gd name="connsiteY0" fmla="*/ 340571 h 5943600"/>
              <a:gd name="connsiteX1" fmla="*/ 340571 w 5194160"/>
              <a:gd name="connsiteY1" fmla="*/ 0 h 5943600"/>
              <a:gd name="connsiteX2" fmla="*/ 5187482 w 5194160"/>
              <a:gd name="connsiteY2" fmla="*/ 978 h 5943600"/>
              <a:gd name="connsiteX3" fmla="*/ 5158611 w 5194160"/>
              <a:gd name="connsiteY3" fmla="*/ 5603029 h 5943600"/>
              <a:gd name="connsiteX4" fmla="*/ 4818040 w 5194160"/>
              <a:gd name="connsiteY4" fmla="*/ 5943600 h 5943600"/>
              <a:gd name="connsiteX5" fmla="*/ 340571 w 5194160"/>
              <a:gd name="connsiteY5" fmla="*/ 5943600 h 5943600"/>
              <a:gd name="connsiteX6" fmla="*/ 0 w 5194160"/>
              <a:gd name="connsiteY6" fmla="*/ 5603029 h 5943600"/>
              <a:gd name="connsiteX7" fmla="*/ 0 w 5194160"/>
              <a:gd name="connsiteY7" fmla="*/ 340571 h 5943600"/>
              <a:gd name="connsiteX0" fmla="*/ 0 w 5911768"/>
              <a:gd name="connsiteY0" fmla="*/ 340571 h 5943600"/>
              <a:gd name="connsiteX1" fmla="*/ 340571 w 5911768"/>
              <a:gd name="connsiteY1" fmla="*/ 0 h 5943600"/>
              <a:gd name="connsiteX2" fmla="*/ 5187482 w 5911768"/>
              <a:gd name="connsiteY2" fmla="*/ 978 h 5943600"/>
              <a:gd name="connsiteX3" fmla="*/ 5158611 w 5911768"/>
              <a:gd name="connsiteY3" fmla="*/ 5603029 h 5943600"/>
              <a:gd name="connsiteX4" fmla="*/ 4818040 w 5911768"/>
              <a:gd name="connsiteY4" fmla="*/ 5943600 h 5943600"/>
              <a:gd name="connsiteX5" fmla="*/ 340571 w 5911768"/>
              <a:gd name="connsiteY5" fmla="*/ 5943600 h 5943600"/>
              <a:gd name="connsiteX6" fmla="*/ 0 w 5911768"/>
              <a:gd name="connsiteY6" fmla="*/ 5603029 h 5943600"/>
              <a:gd name="connsiteX7" fmla="*/ 0 w 5911768"/>
              <a:gd name="connsiteY7" fmla="*/ 340571 h 5943600"/>
              <a:gd name="connsiteX0" fmla="*/ 0 w 5193729"/>
              <a:gd name="connsiteY0" fmla="*/ 340571 h 5943600"/>
              <a:gd name="connsiteX1" fmla="*/ 340571 w 5193729"/>
              <a:gd name="connsiteY1" fmla="*/ 0 h 5943600"/>
              <a:gd name="connsiteX2" fmla="*/ 5187482 w 5193729"/>
              <a:gd name="connsiteY2" fmla="*/ 978 h 5943600"/>
              <a:gd name="connsiteX3" fmla="*/ 5158611 w 5193729"/>
              <a:gd name="connsiteY3" fmla="*/ 5603029 h 5943600"/>
              <a:gd name="connsiteX4" fmla="*/ 4818040 w 5193729"/>
              <a:gd name="connsiteY4" fmla="*/ 5943600 h 5943600"/>
              <a:gd name="connsiteX5" fmla="*/ 340571 w 5193729"/>
              <a:gd name="connsiteY5" fmla="*/ 5943600 h 5943600"/>
              <a:gd name="connsiteX6" fmla="*/ 0 w 5193729"/>
              <a:gd name="connsiteY6" fmla="*/ 5603029 h 5943600"/>
              <a:gd name="connsiteX7" fmla="*/ 0 w 5193729"/>
              <a:gd name="connsiteY7" fmla="*/ 340571 h 5943600"/>
              <a:gd name="connsiteX0" fmla="*/ 0 w 5191281"/>
              <a:gd name="connsiteY0" fmla="*/ 340571 h 5943600"/>
              <a:gd name="connsiteX1" fmla="*/ 340571 w 5191281"/>
              <a:gd name="connsiteY1" fmla="*/ 0 h 5943600"/>
              <a:gd name="connsiteX2" fmla="*/ 5187482 w 5191281"/>
              <a:gd name="connsiteY2" fmla="*/ 978 h 5943600"/>
              <a:gd name="connsiteX3" fmla="*/ 5158611 w 5191281"/>
              <a:gd name="connsiteY3" fmla="*/ 5603029 h 5943600"/>
              <a:gd name="connsiteX4" fmla="*/ 4818040 w 5191281"/>
              <a:gd name="connsiteY4" fmla="*/ 5943600 h 5943600"/>
              <a:gd name="connsiteX5" fmla="*/ 340571 w 5191281"/>
              <a:gd name="connsiteY5" fmla="*/ 5943600 h 5943600"/>
              <a:gd name="connsiteX6" fmla="*/ 0 w 5191281"/>
              <a:gd name="connsiteY6" fmla="*/ 5603029 h 5943600"/>
              <a:gd name="connsiteX7" fmla="*/ 0 w 5191281"/>
              <a:gd name="connsiteY7" fmla="*/ 340571 h 5943600"/>
              <a:gd name="connsiteX0" fmla="*/ 0 w 5197650"/>
              <a:gd name="connsiteY0" fmla="*/ 340571 h 5943600"/>
              <a:gd name="connsiteX1" fmla="*/ 340571 w 5197650"/>
              <a:gd name="connsiteY1" fmla="*/ 0 h 5943600"/>
              <a:gd name="connsiteX2" fmla="*/ 5187482 w 5197650"/>
              <a:gd name="connsiteY2" fmla="*/ 978 h 5943600"/>
              <a:gd name="connsiteX3" fmla="*/ 5158611 w 5197650"/>
              <a:gd name="connsiteY3" fmla="*/ 5603029 h 5943600"/>
              <a:gd name="connsiteX4" fmla="*/ 4818040 w 5197650"/>
              <a:gd name="connsiteY4" fmla="*/ 5943600 h 5943600"/>
              <a:gd name="connsiteX5" fmla="*/ 340571 w 5197650"/>
              <a:gd name="connsiteY5" fmla="*/ 5943600 h 5943600"/>
              <a:gd name="connsiteX6" fmla="*/ 0 w 5197650"/>
              <a:gd name="connsiteY6" fmla="*/ 5603029 h 5943600"/>
              <a:gd name="connsiteX7" fmla="*/ 0 w 5197650"/>
              <a:gd name="connsiteY7" fmla="*/ 340571 h 5943600"/>
              <a:gd name="connsiteX0" fmla="*/ 0 w 5187840"/>
              <a:gd name="connsiteY0" fmla="*/ 340571 h 5943600"/>
              <a:gd name="connsiteX1" fmla="*/ 340571 w 5187840"/>
              <a:gd name="connsiteY1" fmla="*/ 0 h 5943600"/>
              <a:gd name="connsiteX2" fmla="*/ 5187482 w 5187840"/>
              <a:gd name="connsiteY2" fmla="*/ 978 h 5943600"/>
              <a:gd name="connsiteX3" fmla="*/ 5158611 w 5187840"/>
              <a:gd name="connsiteY3" fmla="*/ 5603029 h 5943600"/>
              <a:gd name="connsiteX4" fmla="*/ 4818040 w 5187840"/>
              <a:gd name="connsiteY4" fmla="*/ 5943600 h 5943600"/>
              <a:gd name="connsiteX5" fmla="*/ 340571 w 5187840"/>
              <a:gd name="connsiteY5" fmla="*/ 5943600 h 5943600"/>
              <a:gd name="connsiteX6" fmla="*/ 0 w 5187840"/>
              <a:gd name="connsiteY6" fmla="*/ 5603029 h 5943600"/>
              <a:gd name="connsiteX7" fmla="*/ 0 w 5187840"/>
              <a:gd name="connsiteY7" fmla="*/ 340571 h 5943600"/>
              <a:gd name="connsiteX0" fmla="*/ 0 w 5178736"/>
              <a:gd name="connsiteY0" fmla="*/ 344211 h 5947240"/>
              <a:gd name="connsiteX1" fmla="*/ 340571 w 5178736"/>
              <a:gd name="connsiteY1" fmla="*/ 3640 h 5947240"/>
              <a:gd name="connsiteX2" fmla="*/ 5178246 w 5178736"/>
              <a:gd name="connsiteY2" fmla="*/ 0 h 5947240"/>
              <a:gd name="connsiteX3" fmla="*/ 5158611 w 5178736"/>
              <a:gd name="connsiteY3" fmla="*/ 5606669 h 5947240"/>
              <a:gd name="connsiteX4" fmla="*/ 4818040 w 5178736"/>
              <a:gd name="connsiteY4" fmla="*/ 5947240 h 5947240"/>
              <a:gd name="connsiteX5" fmla="*/ 340571 w 5178736"/>
              <a:gd name="connsiteY5" fmla="*/ 5947240 h 5947240"/>
              <a:gd name="connsiteX6" fmla="*/ 0 w 5178736"/>
              <a:gd name="connsiteY6" fmla="*/ 5606669 h 5947240"/>
              <a:gd name="connsiteX7" fmla="*/ 0 w 5178736"/>
              <a:gd name="connsiteY7" fmla="*/ 344211 h 5947240"/>
              <a:gd name="connsiteX0" fmla="*/ 0 w 5161607"/>
              <a:gd name="connsiteY0" fmla="*/ 344211 h 5947240"/>
              <a:gd name="connsiteX1" fmla="*/ 340571 w 5161607"/>
              <a:gd name="connsiteY1" fmla="*/ 3640 h 5947240"/>
              <a:gd name="connsiteX2" fmla="*/ 5159773 w 5161607"/>
              <a:gd name="connsiteY2" fmla="*/ 0 h 5947240"/>
              <a:gd name="connsiteX3" fmla="*/ 5158611 w 5161607"/>
              <a:gd name="connsiteY3" fmla="*/ 5606669 h 5947240"/>
              <a:gd name="connsiteX4" fmla="*/ 4818040 w 5161607"/>
              <a:gd name="connsiteY4" fmla="*/ 5947240 h 5947240"/>
              <a:gd name="connsiteX5" fmla="*/ 340571 w 5161607"/>
              <a:gd name="connsiteY5" fmla="*/ 5947240 h 5947240"/>
              <a:gd name="connsiteX6" fmla="*/ 0 w 5161607"/>
              <a:gd name="connsiteY6" fmla="*/ 5606669 h 5947240"/>
              <a:gd name="connsiteX7" fmla="*/ 0 w 5161607"/>
              <a:gd name="connsiteY7" fmla="*/ 344211 h 5947240"/>
              <a:gd name="connsiteX0" fmla="*/ 468923 w 5630530"/>
              <a:gd name="connsiteY0" fmla="*/ 344211 h 5947240"/>
              <a:gd name="connsiteX1" fmla="*/ 809494 w 5630530"/>
              <a:gd name="connsiteY1" fmla="*/ 3640 h 5947240"/>
              <a:gd name="connsiteX2" fmla="*/ 5628696 w 5630530"/>
              <a:gd name="connsiteY2" fmla="*/ 0 h 5947240"/>
              <a:gd name="connsiteX3" fmla="*/ 5627534 w 5630530"/>
              <a:gd name="connsiteY3" fmla="*/ 5606669 h 5947240"/>
              <a:gd name="connsiteX4" fmla="*/ 5286963 w 5630530"/>
              <a:gd name="connsiteY4" fmla="*/ 5947240 h 5947240"/>
              <a:gd name="connsiteX5" fmla="*/ 809494 w 5630530"/>
              <a:gd name="connsiteY5" fmla="*/ 5947240 h 5947240"/>
              <a:gd name="connsiteX6" fmla="*/ 0 w 5630530"/>
              <a:gd name="connsiteY6" fmla="*/ 5598853 h 5947240"/>
              <a:gd name="connsiteX7" fmla="*/ 468923 w 5630530"/>
              <a:gd name="connsiteY7" fmla="*/ 344211 h 5947240"/>
              <a:gd name="connsiteX0" fmla="*/ 0 w 5638345"/>
              <a:gd name="connsiteY0" fmla="*/ 352027 h 5947240"/>
              <a:gd name="connsiteX1" fmla="*/ 817309 w 5638345"/>
              <a:gd name="connsiteY1" fmla="*/ 3640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817309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817309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293678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285863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364016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5638345"/>
              <a:gd name="connsiteY0" fmla="*/ 352027 h 5947240"/>
              <a:gd name="connsiteX1" fmla="*/ 356202 w 5638345"/>
              <a:gd name="connsiteY1" fmla="*/ 11455 h 5947240"/>
              <a:gd name="connsiteX2" fmla="*/ 5636511 w 5638345"/>
              <a:gd name="connsiteY2" fmla="*/ 0 h 5947240"/>
              <a:gd name="connsiteX3" fmla="*/ 5635349 w 5638345"/>
              <a:gd name="connsiteY3" fmla="*/ 5606669 h 5947240"/>
              <a:gd name="connsiteX4" fmla="*/ 5294778 w 5638345"/>
              <a:gd name="connsiteY4" fmla="*/ 5947240 h 5947240"/>
              <a:gd name="connsiteX5" fmla="*/ 364016 w 5638345"/>
              <a:gd name="connsiteY5" fmla="*/ 5947240 h 5947240"/>
              <a:gd name="connsiteX6" fmla="*/ 7815 w 5638345"/>
              <a:gd name="connsiteY6" fmla="*/ 5598853 h 5947240"/>
              <a:gd name="connsiteX7" fmla="*/ 0 w 5638345"/>
              <a:gd name="connsiteY7" fmla="*/ 352027 h 5947240"/>
              <a:gd name="connsiteX0" fmla="*/ 0 w 7723733"/>
              <a:gd name="connsiteY0" fmla="*/ 352027 h 5947240"/>
              <a:gd name="connsiteX1" fmla="*/ 356202 w 7723733"/>
              <a:gd name="connsiteY1" fmla="*/ 11455 h 5947240"/>
              <a:gd name="connsiteX2" fmla="*/ 7723728 w 7723733"/>
              <a:gd name="connsiteY2" fmla="*/ 0 h 5947240"/>
              <a:gd name="connsiteX3" fmla="*/ 5635349 w 7723733"/>
              <a:gd name="connsiteY3" fmla="*/ 5606669 h 5947240"/>
              <a:gd name="connsiteX4" fmla="*/ 5294778 w 7723733"/>
              <a:gd name="connsiteY4" fmla="*/ 5947240 h 5947240"/>
              <a:gd name="connsiteX5" fmla="*/ 364016 w 7723733"/>
              <a:gd name="connsiteY5" fmla="*/ 5947240 h 5947240"/>
              <a:gd name="connsiteX6" fmla="*/ 7815 w 7723733"/>
              <a:gd name="connsiteY6" fmla="*/ 5598853 h 5947240"/>
              <a:gd name="connsiteX7" fmla="*/ 0 w 7723733"/>
              <a:gd name="connsiteY7" fmla="*/ 352027 h 5947240"/>
              <a:gd name="connsiteX0" fmla="*/ 0 w 7724473"/>
              <a:gd name="connsiteY0" fmla="*/ 352027 h 5947240"/>
              <a:gd name="connsiteX1" fmla="*/ 356202 w 7724473"/>
              <a:gd name="connsiteY1" fmla="*/ 11455 h 5947240"/>
              <a:gd name="connsiteX2" fmla="*/ 7723728 w 7724473"/>
              <a:gd name="connsiteY2" fmla="*/ 0 h 5947240"/>
              <a:gd name="connsiteX3" fmla="*/ 7712627 w 7724473"/>
              <a:gd name="connsiteY3" fmla="*/ 5517217 h 5947240"/>
              <a:gd name="connsiteX4" fmla="*/ 5294778 w 7724473"/>
              <a:gd name="connsiteY4" fmla="*/ 5947240 h 5947240"/>
              <a:gd name="connsiteX5" fmla="*/ 364016 w 7724473"/>
              <a:gd name="connsiteY5" fmla="*/ 5947240 h 5947240"/>
              <a:gd name="connsiteX6" fmla="*/ 7815 w 7724473"/>
              <a:gd name="connsiteY6" fmla="*/ 5598853 h 5947240"/>
              <a:gd name="connsiteX7" fmla="*/ 0 w 7724473"/>
              <a:gd name="connsiteY7" fmla="*/ 352027 h 5947240"/>
              <a:gd name="connsiteX0" fmla="*/ 0 w 7724473"/>
              <a:gd name="connsiteY0" fmla="*/ 352027 h 5947240"/>
              <a:gd name="connsiteX1" fmla="*/ 356202 w 7724473"/>
              <a:gd name="connsiteY1" fmla="*/ 11455 h 5947240"/>
              <a:gd name="connsiteX2" fmla="*/ 7723728 w 7724473"/>
              <a:gd name="connsiteY2" fmla="*/ 0 h 5947240"/>
              <a:gd name="connsiteX3" fmla="*/ 7712627 w 7724473"/>
              <a:gd name="connsiteY3" fmla="*/ 5517217 h 5947240"/>
              <a:gd name="connsiteX4" fmla="*/ 7391934 w 7724473"/>
              <a:gd name="connsiteY4" fmla="*/ 5947240 h 5947240"/>
              <a:gd name="connsiteX5" fmla="*/ 364016 w 7724473"/>
              <a:gd name="connsiteY5" fmla="*/ 5947240 h 5947240"/>
              <a:gd name="connsiteX6" fmla="*/ 7815 w 7724473"/>
              <a:gd name="connsiteY6" fmla="*/ 5598853 h 5947240"/>
              <a:gd name="connsiteX7" fmla="*/ 0 w 7724473"/>
              <a:gd name="connsiteY7" fmla="*/ 352027 h 5947240"/>
              <a:gd name="connsiteX0" fmla="*/ 0 w 7724473"/>
              <a:gd name="connsiteY0" fmla="*/ 352027 h 5947240"/>
              <a:gd name="connsiteX1" fmla="*/ 356202 w 7724473"/>
              <a:gd name="connsiteY1" fmla="*/ 11455 h 5947240"/>
              <a:gd name="connsiteX2" fmla="*/ 7723728 w 7724473"/>
              <a:gd name="connsiteY2" fmla="*/ 0 h 5947240"/>
              <a:gd name="connsiteX3" fmla="*/ 7712627 w 7724473"/>
              <a:gd name="connsiteY3" fmla="*/ 5517217 h 5947240"/>
              <a:gd name="connsiteX4" fmla="*/ 7322360 w 7724473"/>
              <a:gd name="connsiteY4" fmla="*/ 5947240 h 5947240"/>
              <a:gd name="connsiteX5" fmla="*/ 364016 w 7724473"/>
              <a:gd name="connsiteY5" fmla="*/ 5947240 h 5947240"/>
              <a:gd name="connsiteX6" fmla="*/ 7815 w 7724473"/>
              <a:gd name="connsiteY6" fmla="*/ 5598853 h 5947240"/>
              <a:gd name="connsiteX7" fmla="*/ 0 w 7724473"/>
              <a:gd name="connsiteY7" fmla="*/ 352027 h 5947240"/>
              <a:gd name="connsiteX0" fmla="*/ 0 w 7724192"/>
              <a:gd name="connsiteY0" fmla="*/ 352027 h 5947240"/>
              <a:gd name="connsiteX1" fmla="*/ 356202 w 7724192"/>
              <a:gd name="connsiteY1" fmla="*/ 11455 h 5947240"/>
              <a:gd name="connsiteX2" fmla="*/ 7723728 w 7724192"/>
              <a:gd name="connsiteY2" fmla="*/ 0 h 5947240"/>
              <a:gd name="connsiteX3" fmla="*/ 7702688 w 7724192"/>
              <a:gd name="connsiteY3" fmla="*/ 5606669 h 5947240"/>
              <a:gd name="connsiteX4" fmla="*/ 7322360 w 7724192"/>
              <a:gd name="connsiteY4" fmla="*/ 5947240 h 5947240"/>
              <a:gd name="connsiteX5" fmla="*/ 364016 w 7724192"/>
              <a:gd name="connsiteY5" fmla="*/ 5947240 h 5947240"/>
              <a:gd name="connsiteX6" fmla="*/ 7815 w 7724192"/>
              <a:gd name="connsiteY6" fmla="*/ 5598853 h 5947240"/>
              <a:gd name="connsiteX7" fmla="*/ 0 w 7724192"/>
              <a:gd name="connsiteY7" fmla="*/ 352027 h 594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4192" h="5947240">
                <a:moveTo>
                  <a:pt x="0" y="352027"/>
                </a:moveTo>
                <a:cubicBezTo>
                  <a:pt x="0" y="163935"/>
                  <a:pt x="168110" y="11455"/>
                  <a:pt x="356202" y="11455"/>
                </a:cubicBezTo>
                <a:lnTo>
                  <a:pt x="7723728" y="0"/>
                </a:lnTo>
                <a:cubicBezTo>
                  <a:pt x="7727764" y="2407"/>
                  <a:pt x="7704225" y="4630086"/>
                  <a:pt x="7702688" y="5606669"/>
                </a:cubicBezTo>
                <a:cubicBezTo>
                  <a:pt x="7702688" y="5794761"/>
                  <a:pt x="7510452" y="5947240"/>
                  <a:pt x="7322360" y="5947240"/>
                </a:cubicBezTo>
                <a:lnTo>
                  <a:pt x="364016" y="5947240"/>
                </a:lnTo>
                <a:cubicBezTo>
                  <a:pt x="175924" y="5947240"/>
                  <a:pt x="7815" y="5786945"/>
                  <a:pt x="7815" y="5598853"/>
                </a:cubicBezTo>
                <a:lnTo>
                  <a:pt x="0" y="352027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>
              <a:buFontTx/>
              <a:buNone/>
              <a:defRPr lang="en-US" sz="1800" dirty="0">
                <a:noFill/>
              </a:defRPr>
            </a:lvl1pPr>
          </a:lstStyle>
          <a:p>
            <a:pPr lvl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849A903B-4415-4646-B995-E47A9EDA5D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9273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3x Rounded Corners 3:2: Brow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88577326-8E57-624C-8AFD-DFB614C974D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3076" y="3749040"/>
            <a:ext cx="3658078" cy="233172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8078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3655716" y="0"/>
                </a:lnTo>
                <a:cubicBezTo>
                  <a:pt x="3660164" y="5824"/>
                  <a:pt x="3656965" y="1741826"/>
                  <a:pt x="3656965" y="2130446"/>
                </a:cubicBezTo>
                <a:cubicBezTo>
                  <a:pt x="3656965" y="2241607"/>
                  <a:pt x="3566852" y="2331720"/>
                  <a:pt x="3455691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988FE8-7BCE-4DCC-AD06-6E2476D85CA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3076" y="1164006"/>
            <a:ext cx="11245850" cy="2103120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 dirty="0"/>
              <a:t>Edit Master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4324FC-DA88-024C-B850-9A3B70FA29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748BFDC7-BD18-0F4A-9CA2-B7EDF05E7E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67200" y="3749040"/>
            <a:ext cx="3658078" cy="233172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8078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3655716" y="0"/>
                </a:lnTo>
                <a:cubicBezTo>
                  <a:pt x="3660164" y="5824"/>
                  <a:pt x="3656965" y="1741826"/>
                  <a:pt x="3656965" y="2130446"/>
                </a:cubicBezTo>
                <a:cubicBezTo>
                  <a:pt x="3656965" y="2241607"/>
                  <a:pt x="3566852" y="2331720"/>
                  <a:pt x="3455691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4C630D1A-4F2A-EA4A-AEDE-FE3DFA17557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067206" y="3749040"/>
            <a:ext cx="3658078" cy="233172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8078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3655716" y="0"/>
                </a:lnTo>
                <a:cubicBezTo>
                  <a:pt x="3660164" y="5824"/>
                  <a:pt x="3656965" y="1741826"/>
                  <a:pt x="3656965" y="2130446"/>
                </a:cubicBezTo>
                <a:cubicBezTo>
                  <a:pt x="3656965" y="2241607"/>
                  <a:pt x="3566852" y="2331720"/>
                  <a:pt x="3455691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7C7EC9-09B4-F944-9598-B2A5B748A78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69594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3x Corners 3:2: Brow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988FE8-7BCE-4DCC-AD06-6E2476D85CA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3076" y="1164006"/>
            <a:ext cx="11245850" cy="2103120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 dirty="0"/>
              <a:t>Edit Master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4324FC-DA88-024C-B850-9A3B70FA29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7C7EC9-09B4-F944-9598-B2A5B748A78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693924" y="6487053"/>
            <a:ext cx="254237" cy="142347"/>
          </a:xfrm>
        </p:spPr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81CDAB73-EF81-E241-816A-0BFA45F3BD7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061324" y="3749040"/>
            <a:ext cx="3663961" cy="2331720"/>
          </a:xfrm>
          <a:prstGeom prst="rect">
            <a:avLst/>
          </a:pr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8AB714AD-04ED-D14E-AA32-32ABD684B03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73082" y="3749040"/>
            <a:ext cx="3652196" cy="2331720"/>
          </a:xfrm>
          <a:prstGeom prst="rect">
            <a:avLst/>
          </a:pr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26D08B4C-08CB-DB42-9ACF-6D152954B29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73074" y="3749040"/>
            <a:ext cx="3652197" cy="2331720"/>
          </a:xfrm>
          <a:prstGeom prst="rect">
            <a:avLst/>
          </a:pr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084251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s 3x Square: Brow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6880F47F-F674-B44C-A09F-58D1737190C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21071" y="2240280"/>
            <a:ext cx="2486409" cy="260604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2048239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69 w 2224682"/>
              <a:gd name="connsiteY3" fmla="*/ 2156390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09767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4682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2222320" y="0"/>
                </a:lnTo>
                <a:cubicBezTo>
                  <a:pt x="2226768" y="5824"/>
                  <a:pt x="2223570" y="1738176"/>
                  <a:pt x="2223570" y="2126796"/>
                </a:cubicBezTo>
                <a:cubicBezTo>
                  <a:pt x="2223570" y="2237957"/>
                  <a:pt x="2120928" y="2331720"/>
                  <a:pt x="2009767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30D4F522-AF5A-F944-8A53-12A92CE142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627111" y="2240280"/>
            <a:ext cx="2486409" cy="260604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2048239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69 w 2224682"/>
              <a:gd name="connsiteY3" fmla="*/ 2156390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09767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4682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2222320" y="0"/>
                </a:lnTo>
                <a:cubicBezTo>
                  <a:pt x="2226768" y="5824"/>
                  <a:pt x="2223570" y="1738176"/>
                  <a:pt x="2223570" y="2126796"/>
                </a:cubicBezTo>
                <a:cubicBezTo>
                  <a:pt x="2223570" y="2237957"/>
                  <a:pt x="2120928" y="2331720"/>
                  <a:pt x="2009767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A64242F8-6C64-BC40-ADF5-0D67C98ABC5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229922" y="2240280"/>
            <a:ext cx="2486409" cy="2606040"/>
          </a:xfrm>
          <a:custGeom>
            <a:avLst/>
            <a:gdLst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01274 h 2331720"/>
              <a:gd name="connsiteX4" fmla="*/ 3656965 w 3656965"/>
              <a:gd name="connsiteY4" fmla="*/ 2130446 h 2331720"/>
              <a:gd name="connsiteX5" fmla="*/ 3455691 w 3656965"/>
              <a:gd name="connsiteY5" fmla="*/ 2331720 h 2331720"/>
              <a:gd name="connsiteX6" fmla="*/ 201274 w 3656965"/>
              <a:gd name="connsiteY6" fmla="*/ 2331720 h 2331720"/>
              <a:gd name="connsiteX7" fmla="*/ 0 w 3656965"/>
              <a:gd name="connsiteY7" fmla="*/ 2130446 h 2331720"/>
              <a:gd name="connsiteX8" fmla="*/ 0 w 3656965"/>
              <a:gd name="connsiteY8" fmla="*/ 201274 h 2331720"/>
              <a:gd name="connsiteX0" fmla="*/ 0 w 3776747"/>
              <a:gd name="connsiteY0" fmla="*/ 201274 h 2331720"/>
              <a:gd name="connsiteX1" fmla="*/ 201274 w 3776747"/>
              <a:gd name="connsiteY1" fmla="*/ 0 h 2331720"/>
              <a:gd name="connsiteX2" fmla="*/ 3455691 w 3776747"/>
              <a:gd name="connsiteY2" fmla="*/ 0 h 2331720"/>
              <a:gd name="connsiteX3" fmla="*/ 3656965 w 3776747"/>
              <a:gd name="connsiteY3" fmla="*/ 2130446 h 2331720"/>
              <a:gd name="connsiteX4" fmla="*/ 3455691 w 3776747"/>
              <a:gd name="connsiteY4" fmla="*/ 2331720 h 2331720"/>
              <a:gd name="connsiteX5" fmla="*/ 201274 w 3776747"/>
              <a:gd name="connsiteY5" fmla="*/ 2331720 h 2331720"/>
              <a:gd name="connsiteX6" fmla="*/ 0 w 3776747"/>
              <a:gd name="connsiteY6" fmla="*/ 2130446 h 2331720"/>
              <a:gd name="connsiteX7" fmla="*/ 0 w 3776747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3455691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8078"/>
              <a:gd name="connsiteY0" fmla="*/ 201274 h 2331720"/>
              <a:gd name="connsiteX1" fmla="*/ 201274 w 3658078"/>
              <a:gd name="connsiteY1" fmla="*/ 0 h 2331720"/>
              <a:gd name="connsiteX2" fmla="*/ 3655716 w 3658078"/>
              <a:gd name="connsiteY2" fmla="*/ 0 h 2331720"/>
              <a:gd name="connsiteX3" fmla="*/ 3656965 w 3658078"/>
              <a:gd name="connsiteY3" fmla="*/ 2130446 h 2331720"/>
              <a:gd name="connsiteX4" fmla="*/ 3455691 w 3658078"/>
              <a:gd name="connsiteY4" fmla="*/ 2331720 h 2331720"/>
              <a:gd name="connsiteX5" fmla="*/ 201274 w 3658078"/>
              <a:gd name="connsiteY5" fmla="*/ 2331720 h 2331720"/>
              <a:gd name="connsiteX6" fmla="*/ 0 w 3658078"/>
              <a:gd name="connsiteY6" fmla="*/ 2130446 h 2331720"/>
              <a:gd name="connsiteX7" fmla="*/ 0 w 3658078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3455691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3656965"/>
              <a:gd name="connsiteY0" fmla="*/ 201274 h 2331720"/>
              <a:gd name="connsiteX1" fmla="*/ 201274 w 3656965"/>
              <a:gd name="connsiteY1" fmla="*/ 0 h 2331720"/>
              <a:gd name="connsiteX2" fmla="*/ 2222320 w 3656965"/>
              <a:gd name="connsiteY2" fmla="*/ 0 h 2331720"/>
              <a:gd name="connsiteX3" fmla="*/ 3656965 w 3656965"/>
              <a:gd name="connsiteY3" fmla="*/ 2130446 h 2331720"/>
              <a:gd name="connsiteX4" fmla="*/ 2048239 w 3656965"/>
              <a:gd name="connsiteY4" fmla="*/ 2331720 h 2331720"/>
              <a:gd name="connsiteX5" fmla="*/ 201274 w 3656965"/>
              <a:gd name="connsiteY5" fmla="*/ 2331720 h 2331720"/>
              <a:gd name="connsiteX6" fmla="*/ 0 w 3656965"/>
              <a:gd name="connsiteY6" fmla="*/ 2130446 h 2331720"/>
              <a:gd name="connsiteX7" fmla="*/ 0 w 3656965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69 w 2224682"/>
              <a:gd name="connsiteY3" fmla="*/ 2156390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48239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  <a:gd name="connsiteX0" fmla="*/ 0 w 2224682"/>
              <a:gd name="connsiteY0" fmla="*/ 201274 h 2331720"/>
              <a:gd name="connsiteX1" fmla="*/ 201274 w 2224682"/>
              <a:gd name="connsiteY1" fmla="*/ 0 h 2331720"/>
              <a:gd name="connsiteX2" fmla="*/ 2222320 w 2224682"/>
              <a:gd name="connsiteY2" fmla="*/ 0 h 2331720"/>
              <a:gd name="connsiteX3" fmla="*/ 2223570 w 2224682"/>
              <a:gd name="connsiteY3" fmla="*/ 2126796 h 2331720"/>
              <a:gd name="connsiteX4" fmla="*/ 2009767 w 2224682"/>
              <a:gd name="connsiteY4" fmla="*/ 2331720 h 2331720"/>
              <a:gd name="connsiteX5" fmla="*/ 201274 w 2224682"/>
              <a:gd name="connsiteY5" fmla="*/ 2331720 h 2331720"/>
              <a:gd name="connsiteX6" fmla="*/ 0 w 2224682"/>
              <a:gd name="connsiteY6" fmla="*/ 2130446 h 2331720"/>
              <a:gd name="connsiteX7" fmla="*/ 0 w 2224682"/>
              <a:gd name="connsiteY7" fmla="*/ 201274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4682" h="2331720">
                <a:moveTo>
                  <a:pt x="0" y="201274"/>
                </a:moveTo>
                <a:cubicBezTo>
                  <a:pt x="0" y="90113"/>
                  <a:pt x="90113" y="0"/>
                  <a:pt x="201274" y="0"/>
                </a:cubicBezTo>
                <a:lnTo>
                  <a:pt x="2222320" y="0"/>
                </a:lnTo>
                <a:cubicBezTo>
                  <a:pt x="2226768" y="5824"/>
                  <a:pt x="2223570" y="1738176"/>
                  <a:pt x="2223570" y="2126796"/>
                </a:cubicBezTo>
                <a:cubicBezTo>
                  <a:pt x="2223570" y="2237957"/>
                  <a:pt x="2120928" y="2331720"/>
                  <a:pt x="2009767" y="2331720"/>
                </a:cubicBezTo>
                <a:lnTo>
                  <a:pt x="201274" y="2331720"/>
                </a:lnTo>
                <a:cubicBezTo>
                  <a:pt x="90113" y="2331720"/>
                  <a:pt x="0" y="2241607"/>
                  <a:pt x="0" y="2130446"/>
                </a:cubicBezTo>
                <a:lnTo>
                  <a:pt x="0" y="201274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567A0B-1088-E047-9FB4-02B34895658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algn="ctr"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565A970-4684-2F4D-98F0-4F5379F1F2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2BDD42C-F253-0643-A91B-BB12DB92EA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3075" y="1280160"/>
            <a:ext cx="3108325" cy="5120640"/>
          </a:xfrm>
          <a:prstGeom prst="rect">
            <a:avLst/>
          </a:prstGeom>
        </p:spPr>
        <p:txBody>
          <a:bodyPr vert="horz" lIns="137160" tIns="91440" rIns="137160" bIns="274320" rtlCol="0" anchor="ctr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60530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s 4x Grid: Brow &amp;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E79FAC9-EB2E-114E-90BC-D7B50FE68CB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0624" y="3657599"/>
            <a:ext cx="2748576" cy="2746376"/>
          </a:xfrm>
          <a:custGeom>
            <a:avLst/>
            <a:gdLst>
              <a:gd name="connsiteX0" fmla="*/ 0 w 2743200"/>
              <a:gd name="connsiteY0" fmla="*/ 0 h 2743200"/>
              <a:gd name="connsiteX1" fmla="*/ 2743200 w 2743200"/>
              <a:gd name="connsiteY1" fmla="*/ 0 h 2743200"/>
              <a:gd name="connsiteX2" fmla="*/ 2743200 w 2743200"/>
              <a:gd name="connsiteY2" fmla="*/ 2743200 h 2743200"/>
              <a:gd name="connsiteX3" fmla="*/ 0 w 2743200"/>
              <a:gd name="connsiteY3" fmla="*/ 2743200 h 2743200"/>
              <a:gd name="connsiteX4" fmla="*/ 0 w 2743200"/>
              <a:gd name="connsiteY4" fmla="*/ 0 h 2743200"/>
              <a:gd name="connsiteX0" fmla="*/ 342900 w 3086100"/>
              <a:gd name="connsiteY0" fmla="*/ 0 h 3086100"/>
              <a:gd name="connsiteX1" fmla="*/ 3086100 w 3086100"/>
              <a:gd name="connsiteY1" fmla="*/ 0 h 3086100"/>
              <a:gd name="connsiteX2" fmla="*/ 3086100 w 3086100"/>
              <a:gd name="connsiteY2" fmla="*/ 2743200 h 3086100"/>
              <a:gd name="connsiteX3" fmla="*/ 342900 w 3086100"/>
              <a:gd name="connsiteY3" fmla="*/ 2743200 h 3086100"/>
              <a:gd name="connsiteX4" fmla="*/ 342900 w 3086100"/>
              <a:gd name="connsiteY4" fmla="*/ 0 h 3086100"/>
              <a:gd name="connsiteX0" fmla="*/ 348767 w 3091967"/>
              <a:gd name="connsiteY0" fmla="*/ 0 h 3011102"/>
              <a:gd name="connsiteX1" fmla="*/ 3091967 w 3091967"/>
              <a:gd name="connsiteY1" fmla="*/ 0 h 3011102"/>
              <a:gd name="connsiteX2" fmla="*/ 3091967 w 3091967"/>
              <a:gd name="connsiteY2" fmla="*/ 2743200 h 3011102"/>
              <a:gd name="connsiteX3" fmla="*/ 337143 w 3091967"/>
              <a:gd name="connsiteY3" fmla="*/ 2568844 h 3011102"/>
              <a:gd name="connsiteX4" fmla="*/ 348767 w 3091967"/>
              <a:gd name="connsiteY4" fmla="*/ 0 h 3011102"/>
              <a:gd name="connsiteX0" fmla="*/ 206259 w 2949459"/>
              <a:gd name="connsiteY0" fmla="*/ 0 h 2924885"/>
              <a:gd name="connsiteX1" fmla="*/ 2949459 w 2949459"/>
              <a:gd name="connsiteY1" fmla="*/ 0 h 2924885"/>
              <a:gd name="connsiteX2" fmla="*/ 2949459 w 2949459"/>
              <a:gd name="connsiteY2" fmla="*/ 2743200 h 2924885"/>
              <a:gd name="connsiteX3" fmla="*/ 194635 w 2949459"/>
              <a:gd name="connsiteY3" fmla="*/ 2568844 h 2924885"/>
              <a:gd name="connsiteX4" fmla="*/ 206259 w 2949459"/>
              <a:gd name="connsiteY4" fmla="*/ 0 h 2924885"/>
              <a:gd name="connsiteX0" fmla="*/ 11624 w 2754824"/>
              <a:gd name="connsiteY0" fmla="*/ 0 h 2924885"/>
              <a:gd name="connsiteX1" fmla="*/ 2754824 w 2754824"/>
              <a:gd name="connsiteY1" fmla="*/ 0 h 2924885"/>
              <a:gd name="connsiteX2" fmla="*/ 2754824 w 2754824"/>
              <a:gd name="connsiteY2" fmla="*/ 2743200 h 2924885"/>
              <a:gd name="connsiteX3" fmla="*/ 0 w 2754824"/>
              <a:gd name="connsiteY3" fmla="*/ 2568844 h 2924885"/>
              <a:gd name="connsiteX4" fmla="*/ 11624 w 2754824"/>
              <a:gd name="connsiteY4" fmla="*/ 0 h 2924885"/>
              <a:gd name="connsiteX0" fmla="*/ 64001 w 2807201"/>
              <a:gd name="connsiteY0" fmla="*/ 0 h 2925673"/>
              <a:gd name="connsiteX1" fmla="*/ 2807201 w 2807201"/>
              <a:gd name="connsiteY1" fmla="*/ 0 h 2925673"/>
              <a:gd name="connsiteX2" fmla="*/ 2807201 w 2807201"/>
              <a:gd name="connsiteY2" fmla="*/ 2743200 h 2925673"/>
              <a:gd name="connsiteX3" fmla="*/ 268062 w 2807201"/>
              <a:gd name="connsiteY3" fmla="*/ 2657960 h 2925673"/>
              <a:gd name="connsiteX4" fmla="*/ 52377 w 2807201"/>
              <a:gd name="connsiteY4" fmla="*/ 2568844 h 2925673"/>
              <a:gd name="connsiteX5" fmla="*/ 64001 w 2807201"/>
              <a:gd name="connsiteY5" fmla="*/ 0 h 2925673"/>
              <a:gd name="connsiteX0" fmla="*/ 93513 w 2836713"/>
              <a:gd name="connsiteY0" fmla="*/ 0 h 2946704"/>
              <a:gd name="connsiteX1" fmla="*/ 2836713 w 2836713"/>
              <a:gd name="connsiteY1" fmla="*/ 0 h 2946704"/>
              <a:gd name="connsiteX2" fmla="*/ 2836713 w 2836713"/>
              <a:gd name="connsiteY2" fmla="*/ 2743200 h 2946704"/>
              <a:gd name="connsiteX3" fmla="*/ 251079 w 2836713"/>
              <a:gd name="connsiteY3" fmla="*/ 2743201 h 2946704"/>
              <a:gd name="connsiteX4" fmla="*/ 81889 w 2836713"/>
              <a:gd name="connsiteY4" fmla="*/ 2568844 h 2946704"/>
              <a:gd name="connsiteX5" fmla="*/ 93513 w 2836713"/>
              <a:gd name="connsiteY5" fmla="*/ 0 h 2946704"/>
              <a:gd name="connsiteX0" fmla="*/ 21496 w 2764696"/>
              <a:gd name="connsiteY0" fmla="*/ 0 h 2946704"/>
              <a:gd name="connsiteX1" fmla="*/ 2764696 w 2764696"/>
              <a:gd name="connsiteY1" fmla="*/ 0 h 2946704"/>
              <a:gd name="connsiteX2" fmla="*/ 2764696 w 2764696"/>
              <a:gd name="connsiteY2" fmla="*/ 2743200 h 2946704"/>
              <a:gd name="connsiteX3" fmla="*/ 179062 w 2764696"/>
              <a:gd name="connsiteY3" fmla="*/ 2743201 h 2946704"/>
              <a:gd name="connsiteX4" fmla="*/ 9872 w 2764696"/>
              <a:gd name="connsiteY4" fmla="*/ 2568844 h 2946704"/>
              <a:gd name="connsiteX5" fmla="*/ 21496 w 2764696"/>
              <a:gd name="connsiteY5" fmla="*/ 0 h 2946704"/>
              <a:gd name="connsiteX0" fmla="*/ 11927 w 2755127"/>
              <a:gd name="connsiteY0" fmla="*/ 0 h 2946704"/>
              <a:gd name="connsiteX1" fmla="*/ 2755127 w 2755127"/>
              <a:gd name="connsiteY1" fmla="*/ 0 h 2946704"/>
              <a:gd name="connsiteX2" fmla="*/ 2755127 w 2755127"/>
              <a:gd name="connsiteY2" fmla="*/ 2743200 h 2946704"/>
              <a:gd name="connsiteX3" fmla="*/ 169493 w 2755127"/>
              <a:gd name="connsiteY3" fmla="*/ 2743201 h 2946704"/>
              <a:gd name="connsiteX4" fmla="*/ 303 w 2755127"/>
              <a:gd name="connsiteY4" fmla="*/ 2568844 h 2946704"/>
              <a:gd name="connsiteX5" fmla="*/ 11927 w 2755127"/>
              <a:gd name="connsiteY5" fmla="*/ 0 h 2946704"/>
              <a:gd name="connsiteX0" fmla="*/ 5611 w 2748811"/>
              <a:gd name="connsiteY0" fmla="*/ 0 h 2946704"/>
              <a:gd name="connsiteX1" fmla="*/ 2748811 w 2748811"/>
              <a:gd name="connsiteY1" fmla="*/ 0 h 2946704"/>
              <a:gd name="connsiteX2" fmla="*/ 2748811 w 2748811"/>
              <a:gd name="connsiteY2" fmla="*/ 2743200 h 2946704"/>
              <a:gd name="connsiteX3" fmla="*/ 163177 w 2748811"/>
              <a:gd name="connsiteY3" fmla="*/ 2743201 h 2946704"/>
              <a:gd name="connsiteX4" fmla="*/ 337 w 2748811"/>
              <a:gd name="connsiteY4" fmla="*/ 2527569 h 2946704"/>
              <a:gd name="connsiteX5" fmla="*/ 5611 w 2748811"/>
              <a:gd name="connsiteY5" fmla="*/ 0 h 2946704"/>
              <a:gd name="connsiteX0" fmla="*/ 18815 w 2762015"/>
              <a:gd name="connsiteY0" fmla="*/ 0 h 2947578"/>
              <a:gd name="connsiteX1" fmla="*/ 2762015 w 2762015"/>
              <a:gd name="connsiteY1" fmla="*/ 0 h 2947578"/>
              <a:gd name="connsiteX2" fmla="*/ 2762015 w 2762015"/>
              <a:gd name="connsiteY2" fmla="*/ 2743200 h 2947578"/>
              <a:gd name="connsiteX3" fmla="*/ 208131 w 2762015"/>
              <a:gd name="connsiteY3" fmla="*/ 2746376 h 2947578"/>
              <a:gd name="connsiteX4" fmla="*/ 13541 w 2762015"/>
              <a:gd name="connsiteY4" fmla="*/ 2527569 h 2947578"/>
              <a:gd name="connsiteX5" fmla="*/ 18815 w 2762015"/>
              <a:gd name="connsiteY5" fmla="*/ 0 h 2947578"/>
              <a:gd name="connsiteX0" fmla="*/ 5275 w 2748475"/>
              <a:gd name="connsiteY0" fmla="*/ 0 h 2947578"/>
              <a:gd name="connsiteX1" fmla="*/ 2748475 w 2748475"/>
              <a:gd name="connsiteY1" fmla="*/ 0 h 2947578"/>
              <a:gd name="connsiteX2" fmla="*/ 2748475 w 2748475"/>
              <a:gd name="connsiteY2" fmla="*/ 2743200 h 2947578"/>
              <a:gd name="connsiteX3" fmla="*/ 194591 w 2748475"/>
              <a:gd name="connsiteY3" fmla="*/ 2746376 h 2947578"/>
              <a:gd name="connsiteX4" fmla="*/ 1 w 2748475"/>
              <a:gd name="connsiteY4" fmla="*/ 2527569 h 2947578"/>
              <a:gd name="connsiteX5" fmla="*/ 5275 w 2748475"/>
              <a:gd name="connsiteY5" fmla="*/ 0 h 2947578"/>
              <a:gd name="connsiteX0" fmla="*/ 5376 w 2748576"/>
              <a:gd name="connsiteY0" fmla="*/ 0 h 2947578"/>
              <a:gd name="connsiteX1" fmla="*/ 2748576 w 2748576"/>
              <a:gd name="connsiteY1" fmla="*/ 0 h 2947578"/>
              <a:gd name="connsiteX2" fmla="*/ 2748576 w 2748576"/>
              <a:gd name="connsiteY2" fmla="*/ 2743200 h 2947578"/>
              <a:gd name="connsiteX3" fmla="*/ 194692 w 2748576"/>
              <a:gd name="connsiteY3" fmla="*/ 2746376 h 2947578"/>
              <a:gd name="connsiteX4" fmla="*/ 102 w 2748576"/>
              <a:gd name="connsiteY4" fmla="*/ 2527569 h 2947578"/>
              <a:gd name="connsiteX5" fmla="*/ 5376 w 2748576"/>
              <a:gd name="connsiteY5" fmla="*/ 0 h 2947578"/>
              <a:gd name="connsiteX0" fmla="*/ 5376 w 2748576"/>
              <a:gd name="connsiteY0" fmla="*/ 0 h 2940311"/>
              <a:gd name="connsiteX1" fmla="*/ 2748576 w 2748576"/>
              <a:gd name="connsiteY1" fmla="*/ 0 h 2940311"/>
              <a:gd name="connsiteX2" fmla="*/ 2748576 w 2748576"/>
              <a:gd name="connsiteY2" fmla="*/ 2743200 h 2940311"/>
              <a:gd name="connsiteX3" fmla="*/ 194692 w 2748576"/>
              <a:gd name="connsiteY3" fmla="*/ 2746376 h 2940311"/>
              <a:gd name="connsiteX4" fmla="*/ 102 w 2748576"/>
              <a:gd name="connsiteY4" fmla="*/ 2527569 h 2940311"/>
              <a:gd name="connsiteX5" fmla="*/ 5376 w 2748576"/>
              <a:gd name="connsiteY5" fmla="*/ 0 h 2940311"/>
              <a:gd name="connsiteX0" fmla="*/ 5376 w 2748576"/>
              <a:gd name="connsiteY0" fmla="*/ 0 h 2746376"/>
              <a:gd name="connsiteX1" fmla="*/ 2748576 w 2748576"/>
              <a:gd name="connsiteY1" fmla="*/ 0 h 2746376"/>
              <a:gd name="connsiteX2" fmla="*/ 2748576 w 2748576"/>
              <a:gd name="connsiteY2" fmla="*/ 2743200 h 2746376"/>
              <a:gd name="connsiteX3" fmla="*/ 194692 w 2748576"/>
              <a:gd name="connsiteY3" fmla="*/ 2746376 h 2746376"/>
              <a:gd name="connsiteX4" fmla="*/ 102 w 2748576"/>
              <a:gd name="connsiteY4" fmla="*/ 2527569 h 2746376"/>
              <a:gd name="connsiteX5" fmla="*/ 5376 w 2748576"/>
              <a:gd name="connsiteY5" fmla="*/ 0 h 2746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8576" h="2746376">
                <a:moveTo>
                  <a:pt x="5376" y="0"/>
                </a:moveTo>
                <a:lnTo>
                  <a:pt x="2748576" y="0"/>
                </a:lnTo>
                <a:lnTo>
                  <a:pt x="2748576" y="2743200"/>
                </a:lnTo>
                <a:cubicBezTo>
                  <a:pt x="2430894" y="2748532"/>
                  <a:pt x="476029" y="2743685"/>
                  <a:pt x="194692" y="2746376"/>
                </a:cubicBezTo>
                <a:cubicBezTo>
                  <a:pt x="76518" y="2740565"/>
                  <a:pt x="-3270" y="2636048"/>
                  <a:pt x="102" y="2527569"/>
                </a:cubicBezTo>
                <a:cubicBezTo>
                  <a:pt x="3474" y="2419090"/>
                  <a:pt x="1501" y="519194"/>
                  <a:pt x="5376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6B016DA3-DBA7-1C41-8299-3292E26E35C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76360" y="457200"/>
            <a:ext cx="2743200" cy="2514599"/>
          </a:xfrm>
          <a:prstGeom prst="rect">
            <a:avLst/>
          </a:pr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88577326-8E57-624C-8AFD-DFB614C974D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2698" y="457200"/>
            <a:ext cx="2749295" cy="3063240"/>
          </a:xfrm>
          <a:custGeom>
            <a:avLst/>
            <a:gdLst>
              <a:gd name="connsiteX0" fmla="*/ 377684 w 2743200"/>
              <a:gd name="connsiteY0" fmla="*/ 0 h 3063240"/>
              <a:gd name="connsiteX1" fmla="*/ 2743200 w 2743200"/>
              <a:gd name="connsiteY1" fmla="*/ 0 h 3063240"/>
              <a:gd name="connsiteX2" fmla="*/ 2743200 w 2743200"/>
              <a:gd name="connsiteY2" fmla="*/ 0 h 3063240"/>
              <a:gd name="connsiteX3" fmla="*/ 2743200 w 2743200"/>
              <a:gd name="connsiteY3" fmla="*/ 2685556 h 3063240"/>
              <a:gd name="connsiteX4" fmla="*/ 2365516 w 2743200"/>
              <a:gd name="connsiteY4" fmla="*/ 3063240 h 3063240"/>
              <a:gd name="connsiteX5" fmla="*/ 0 w 2743200"/>
              <a:gd name="connsiteY5" fmla="*/ 3063240 h 3063240"/>
              <a:gd name="connsiteX6" fmla="*/ 0 w 2743200"/>
              <a:gd name="connsiteY6" fmla="*/ 3063240 h 3063240"/>
              <a:gd name="connsiteX7" fmla="*/ 0 w 2743200"/>
              <a:gd name="connsiteY7" fmla="*/ 377684 h 3063240"/>
              <a:gd name="connsiteX8" fmla="*/ 377684 w 2743200"/>
              <a:gd name="connsiteY8" fmla="*/ 0 h 3063240"/>
              <a:gd name="connsiteX0" fmla="*/ 377684 w 2821480"/>
              <a:gd name="connsiteY0" fmla="*/ 0 h 3063240"/>
              <a:gd name="connsiteX1" fmla="*/ 2743200 w 2821480"/>
              <a:gd name="connsiteY1" fmla="*/ 0 h 3063240"/>
              <a:gd name="connsiteX2" fmla="*/ 2743200 w 2821480"/>
              <a:gd name="connsiteY2" fmla="*/ 0 h 3063240"/>
              <a:gd name="connsiteX3" fmla="*/ 2743200 w 2821480"/>
              <a:gd name="connsiteY3" fmla="*/ 2685556 h 3063240"/>
              <a:gd name="connsiteX4" fmla="*/ 2723325 w 2821480"/>
              <a:gd name="connsiteY4" fmla="*/ 3053301 h 3063240"/>
              <a:gd name="connsiteX5" fmla="*/ 0 w 2821480"/>
              <a:gd name="connsiteY5" fmla="*/ 3063240 h 3063240"/>
              <a:gd name="connsiteX6" fmla="*/ 0 w 2821480"/>
              <a:gd name="connsiteY6" fmla="*/ 3063240 h 3063240"/>
              <a:gd name="connsiteX7" fmla="*/ 0 w 2821480"/>
              <a:gd name="connsiteY7" fmla="*/ 377684 h 3063240"/>
              <a:gd name="connsiteX8" fmla="*/ 377684 w 2821480"/>
              <a:gd name="connsiteY8" fmla="*/ 0 h 3063240"/>
              <a:gd name="connsiteX0" fmla="*/ 377684 w 2743200"/>
              <a:gd name="connsiteY0" fmla="*/ 0 h 3063240"/>
              <a:gd name="connsiteX1" fmla="*/ 2743200 w 2743200"/>
              <a:gd name="connsiteY1" fmla="*/ 0 h 3063240"/>
              <a:gd name="connsiteX2" fmla="*/ 2743200 w 2743200"/>
              <a:gd name="connsiteY2" fmla="*/ 0 h 3063240"/>
              <a:gd name="connsiteX3" fmla="*/ 2743200 w 2743200"/>
              <a:gd name="connsiteY3" fmla="*/ 2685556 h 3063240"/>
              <a:gd name="connsiteX4" fmla="*/ 2723325 w 2743200"/>
              <a:gd name="connsiteY4" fmla="*/ 3053301 h 3063240"/>
              <a:gd name="connsiteX5" fmla="*/ 0 w 2743200"/>
              <a:gd name="connsiteY5" fmla="*/ 3063240 h 3063240"/>
              <a:gd name="connsiteX6" fmla="*/ 0 w 2743200"/>
              <a:gd name="connsiteY6" fmla="*/ 3063240 h 3063240"/>
              <a:gd name="connsiteX7" fmla="*/ 0 w 2743200"/>
              <a:gd name="connsiteY7" fmla="*/ 377684 h 3063240"/>
              <a:gd name="connsiteX8" fmla="*/ 377684 w 2743200"/>
              <a:gd name="connsiteY8" fmla="*/ 0 h 3063240"/>
              <a:gd name="connsiteX0" fmla="*/ 377684 w 2745994"/>
              <a:gd name="connsiteY0" fmla="*/ 0 h 3063240"/>
              <a:gd name="connsiteX1" fmla="*/ 2743200 w 2745994"/>
              <a:gd name="connsiteY1" fmla="*/ 0 h 3063240"/>
              <a:gd name="connsiteX2" fmla="*/ 2743200 w 2745994"/>
              <a:gd name="connsiteY2" fmla="*/ 0 h 3063240"/>
              <a:gd name="connsiteX3" fmla="*/ 2743200 w 2745994"/>
              <a:gd name="connsiteY3" fmla="*/ 2685556 h 3063240"/>
              <a:gd name="connsiteX4" fmla="*/ 2742698 w 2745994"/>
              <a:gd name="connsiteY4" fmla="*/ 3057175 h 3063240"/>
              <a:gd name="connsiteX5" fmla="*/ 0 w 2745994"/>
              <a:gd name="connsiteY5" fmla="*/ 3063240 h 3063240"/>
              <a:gd name="connsiteX6" fmla="*/ 0 w 2745994"/>
              <a:gd name="connsiteY6" fmla="*/ 3063240 h 3063240"/>
              <a:gd name="connsiteX7" fmla="*/ 0 w 2745994"/>
              <a:gd name="connsiteY7" fmla="*/ 377684 h 3063240"/>
              <a:gd name="connsiteX8" fmla="*/ 377684 w 2745994"/>
              <a:gd name="connsiteY8" fmla="*/ 0 h 3063240"/>
              <a:gd name="connsiteX0" fmla="*/ 318264 w 2745994"/>
              <a:gd name="connsiteY0" fmla="*/ 3301 h 3063240"/>
              <a:gd name="connsiteX1" fmla="*/ 2743200 w 2745994"/>
              <a:gd name="connsiteY1" fmla="*/ 0 h 3063240"/>
              <a:gd name="connsiteX2" fmla="*/ 2743200 w 2745994"/>
              <a:gd name="connsiteY2" fmla="*/ 0 h 3063240"/>
              <a:gd name="connsiteX3" fmla="*/ 2743200 w 2745994"/>
              <a:gd name="connsiteY3" fmla="*/ 2685556 h 3063240"/>
              <a:gd name="connsiteX4" fmla="*/ 2742698 w 2745994"/>
              <a:gd name="connsiteY4" fmla="*/ 3057175 h 3063240"/>
              <a:gd name="connsiteX5" fmla="*/ 0 w 2745994"/>
              <a:gd name="connsiteY5" fmla="*/ 3063240 h 3063240"/>
              <a:gd name="connsiteX6" fmla="*/ 0 w 2745994"/>
              <a:gd name="connsiteY6" fmla="*/ 3063240 h 3063240"/>
              <a:gd name="connsiteX7" fmla="*/ 0 w 2745994"/>
              <a:gd name="connsiteY7" fmla="*/ 377684 h 3063240"/>
              <a:gd name="connsiteX8" fmla="*/ 318264 w 2745994"/>
              <a:gd name="connsiteY8" fmla="*/ 3301 h 3063240"/>
              <a:gd name="connsiteX0" fmla="*/ 321565 w 2749295"/>
              <a:gd name="connsiteY0" fmla="*/ 3301 h 3063240"/>
              <a:gd name="connsiteX1" fmla="*/ 2746501 w 2749295"/>
              <a:gd name="connsiteY1" fmla="*/ 0 h 3063240"/>
              <a:gd name="connsiteX2" fmla="*/ 2746501 w 2749295"/>
              <a:gd name="connsiteY2" fmla="*/ 0 h 3063240"/>
              <a:gd name="connsiteX3" fmla="*/ 2746501 w 2749295"/>
              <a:gd name="connsiteY3" fmla="*/ 2685556 h 3063240"/>
              <a:gd name="connsiteX4" fmla="*/ 2745999 w 2749295"/>
              <a:gd name="connsiteY4" fmla="*/ 3057175 h 3063240"/>
              <a:gd name="connsiteX5" fmla="*/ 3301 w 2749295"/>
              <a:gd name="connsiteY5" fmla="*/ 3063240 h 3063240"/>
              <a:gd name="connsiteX6" fmla="*/ 3301 w 2749295"/>
              <a:gd name="connsiteY6" fmla="*/ 3063240 h 3063240"/>
              <a:gd name="connsiteX7" fmla="*/ 0 w 2749295"/>
              <a:gd name="connsiteY7" fmla="*/ 331469 h 3063240"/>
              <a:gd name="connsiteX8" fmla="*/ 321565 w 2749295"/>
              <a:gd name="connsiteY8" fmla="*/ 3301 h 3063240"/>
              <a:gd name="connsiteX0" fmla="*/ 321565 w 2749295"/>
              <a:gd name="connsiteY0" fmla="*/ 3301 h 3063240"/>
              <a:gd name="connsiteX1" fmla="*/ 2746501 w 2749295"/>
              <a:gd name="connsiteY1" fmla="*/ 0 h 3063240"/>
              <a:gd name="connsiteX2" fmla="*/ 2746501 w 2749295"/>
              <a:gd name="connsiteY2" fmla="*/ 0 h 3063240"/>
              <a:gd name="connsiteX3" fmla="*/ 2746501 w 2749295"/>
              <a:gd name="connsiteY3" fmla="*/ 2685556 h 3063240"/>
              <a:gd name="connsiteX4" fmla="*/ 2745999 w 2749295"/>
              <a:gd name="connsiteY4" fmla="*/ 3057175 h 3063240"/>
              <a:gd name="connsiteX5" fmla="*/ 3301 w 2749295"/>
              <a:gd name="connsiteY5" fmla="*/ 3063240 h 3063240"/>
              <a:gd name="connsiteX6" fmla="*/ 3301 w 2749295"/>
              <a:gd name="connsiteY6" fmla="*/ 3063240 h 3063240"/>
              <a:gd name="connsiteX7" fmla="*/ 0 w 2749295"/>
              <a:gd name="connsiteY7" fmla="*/ 314963 h 3063240"/>
              <a:gd name="connsiteX8" fmla="*/ 321565 w 2749295"/>
              <a:gd name="connsiteY8" fmla="*/ 3301 h 3063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49295" h="3063240">
                <a:moveTo>
                  <a:pt x="321565" y="3301"/>
                </a:moveTo>
                <a:lnTo>
                  <a:pt x="2746501" y="0"/>
                </a:lnTo>
                <a:lnTo>
                  <a:pt x="2746501" y="0"/>
                </a:lnTo>
                <a:lnTo>
                  <a:pt x="2746501" y="2685556"/>
                </a:lnTo>
                <a:cubicBezTo>
                  <a:pt x="2746501" y="2894145"/>
                  <a:pt x="2753110" y="3061050"/>
                  <a:pt x="2745999" y="3057175"/>
                </a:cubicBezTo>
                <a:cubicBezTo>
                  <a:pt x="2738888" y="3053300"/>
                  <a:pt x="911076" y="3059927"/>
                  <a:pt x="3301" y="3063240"/>
                </a:cubicBezTo>
                <a:lnTo>
                  <a:pt x="3301" y="3063240"/>
                </a:lnTo>
                <a:cubicBezTo>
                  <a:pt x="2201" y="2152650"/>
                  <a:pt x="1100" y="1225553"/>
                  <a:pt x="0" y="314963"/>
                </a:cubicBezTo>
                <a:cubicBezTo>
                  <a:pt x="0" y="106374"/>
                  <a:pt x="112976" y="3301"/>
                  <a:pt x="321565" y="3301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65CB4C76-4971-1948-BAE9-D05A032525D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975814" y="3108960"/>
            <a:ext cx="2743746" cy="3291840"/>
          </a:xfrm>
          <a:custGeom>
            <a:avLst/>
            <a:gdLst>
              <a:gd name="connsiteX0" fmla="*/ 232349 w 2743200"/>
              <a:gd name="connsiteY0" fmla="*/ 0 h 3291840"/>
              <a:gd name="connsiteX1" fmla="*/ 2743200 w 2743200"/>
              <a:gd name="connsiteY1" fmla="*/ 0 h 3291840"/>
              <a:gd name="connsiteX2" fmla="*/ 2743200 w 2743200"/>
              <a:gd name="connsiteY2" fmla="*/ 0 h 3291840"/>
              <a:gd name="connsiteX3" fmla="*/ 2743200 w 2743200"/>
              <a:gd name="connsiteY3" fmla="*/ 3059491 h 3291840"/>
              <a:gd name="connsiteX4" fmla="*/ 2510851 w 2743200"/>
              <a:gd name="connsiteY4" fmla="*/ 3291840 h 3291840"/>
              <a:gd name="connsiteX5" fmla="*/ 0 w 2743200"/>
              <a:gd name="connsiteY5" fmla="*/ 3291840 h 3291840"/>
              <a:gd name="connsiteX6" fmla="*/ 0 w 2743200"/>
              <a:gd name="connsiteY6" fmla="*/ 3291840 h 3291840"/>
              <a:gd name="connsiteX7" fmla="*/ 0 w 2743200"/>
              <a:gd name="connsiteY7" fmla="*/ 232349 h 3291840"/>
              <a:gd name="connsiteX8" fmla="*/ 232349 w 2743200"/>
              <a:gd name="connsiteY8" fmla="*/ 0 h 3291840"/>
              <a:gd name="connsiteX0" fmla="*/ 59043 w 2794746"/>
              <a:gd name="connsiteY0" fmla="*/ 3747 h 3291840"/>
              <a:gd name="connsiteX1" fmla="*/ 2794746 w 2794746"/>
              <a:gd name="connsiteY1" fmla="*/ 0 h 3291840"/>
              <a:gd name="connsiteX2" fmla="*/ 2794746 w 2794746"/>
              <a:gd name="connsiteY2" fmla="*/ 0 h 3291840"/>
              <a:gd name="connsiteX3" fmla="*/ 2794746 w 2794746"/>
              <a:gd name="connsiteY3" fmla="*/ 3059491 h 3291840"/>
              <a:gd name="connsiteX4" fmla="*/ 2562397 w 2794746"/>
              <a:gd name="connsiteY4" fmla="*/ 3291840 h 3291840"/>
              <a:gd name="connsiteX5" fmla="*/ 51546 w 2794746"/>
              <a:gd name="connsiteY5" fmla="*/ 3291840 h 3291840"/>
              <a:gd name="connsiteX6" fmla="*/ 51546 w 2794746"/>
              <a:gd name="connsiteY6" fmla="*/ 3291840 h 3291840"/>
              <a:gd name="connsiteX7" fmla="*/ 51546 w 2794746"/>
              <a:gd name="connsiteY7" fmla="*/ 232349 h 3291840"/>
              <a:gd name="connsiteX8" fmla="*/ 59043 w 2794746"/>
              <a:gd name="connsiteY8" fmla="*/ 3747 h 3291840"/>
              <a:gd name="connsiteX0" fmla="*/ 7497 w 2743200"/>
              <a:gd name="connsiteY0" fmla="*/ 3747 h 3291840"/>
              <a:gd name="connsiteX1" fmla="*/ 2743200 w 2743200"/>
              <a:gd name="connsiteY1" fmla="*/ 0 h 3291840"/>
              <a:gd name="connsiteX2" fmla="*/ 2743200 w 2743200"/>
              <a:gd name="connsiteY2" fmla="*/ 0 h 3291840"/>
              <a:gd name="connsiteX3" fmla="*/ 2743200 w 2743200"/>
              <a:gd name="connsiteY3" fmla="*/ 3059491 h 3291840"/>
              <a:gd name="connsiteX4" fmla="*/ 2510851 w 2743200"/>
              <a:gd name="connsiteY4" fmla="*/ 3291840 h 3291840"/>
              <a:gd name="connsiteX5" fmla="*/ 0 w 2743200"/>
              <a:gd name="connsiteY5" fmla="*/ 3291840 h 3291840"/>
              <a:gd name="connsiteX6" fmla="*/ 0 w 2743200"/>
              <a:gd name="connsiteY6" fmla="*/ 3291840 h 3291840"/>
              <a:gd name="connsiteX7" fmla="*/ 0 w 2743200"/>
              <a:gd name="connsiteY7" fmla="*/ 232349 h 3291840"/>
              <a:gd name="connsiteX8" fmla="*/ 7497 w 2743200"/>
              <a:gd name="connsiteY8" fmla="*/ 3747 h 3291840"/>
              <a:gd name="connsiteX0" fmla="*/ 68 w 2750761"/>
              <a:gd name="connsiteY0" fmla="*/ 7495 h 3291840"/>
              <a:gd name="connsiteX1" fmla="*/ 2750761 w 2750761"/>
              <a:gd name="connsiteY1" fmla="*/ 0 h 3291840"/>
              <a:gd name="connsiteX2" fmla="*/ 2750761 w 2750761"/>
              <a:gd name="connsiteY2" fmla="*/ 0 h 3291840"/>
              <a:gd name="connsiteX3" fmla="*/ 2750761 w 2750761"/>
              <a:gd name="connsiteY3" fmla="*/ 3059491 h 3291840"/>
              <a:gd name="connsiteX4" fmla="*/ 2518412 w 2750761"/>
              <a:gd name="connsiteY4" fmla="*/ 3291840 h 3291840"/>
              <a:gd name="connsiteX5" fmla="*/ 7561 w 2750761"/>
              <a:gd name="connsiteY5" fmla="*/ 3291840 h 3291840"/>
              <a:gd name="connsiteX6" fmla="*/ 7561 w 2750761"/>
              <a:gd name="connsiteY6" fmla="*/ 3291840 h 3291840"/>
              <a:gd name="connsiteX7" fmla="*/ 7561 w 2750761"/>
              <a:gd name="connsiteY7" fmla="*/ 232349 h 3291840"/>
              <a:gd name="connsiteX8" fmla="*/ 68 w 2750761"/>
              <a:gd name="connsiteY8" fmla="*/ 7495 h 3291840"/>
              <a:gd name="connsiteX0" fmla="*/ 0 w 2750693"/>
              <a:gd name="connsiteY0" fmla="*/ 7495 h 3291840"/>
              <a:gd name="connsiteX1" fmla="*/ 2750693 w 2750693"/>
              <a:gd name="connsiteY1" fmla="*/ 0 h 3291840"/>
              <a:gd name="connsiteX2" fmla="*/ 2750693 w 2750693"/>
              <a:gd name="connsiteY2" fmla="*/ 0 h 3291840"/>
              <a:gd name="connsiteX3" fmla="*/ 2750693 w 2750693"/>
              <a:gd name="connsiteY3" fmla="*/ 3059491 h 3291840"/>
              <a:gd name="connsiteX4" fmla="*/ 2518344 w 2750693"/>
              <a:gd name="connsiteY4" fmla="*/ 3291840 h 3291840"/>
              <a:gd name="connsiteX5" fmla="*/ 7493 w 2750693"/>
              <a:gd name="connsiteY5" fmla="*/ 3291840 h 3291840"/>
              <a:gd name="connsiteX6" fmla="*/ 7493 w 2750693"/>
              <a:gd name="connsiteY6" fmla="*/ 3291840 h 3291840"/>
              <a:gd name="connsiteX7" fmla="*/ 0 w 2750693"/>
              <a:gd name="connsiteY7" fmla="*/ 7495 h 3291840"/>
              <a:gd name="connsiteX0" fmla="*/ 2578 w 2743746"/>
              <a:gd name="connsiteY0" fmla="*/ 4320 h 3291840"/>
              <a:gd name="connsiteX1" fmla="*/ 2743746 w 2743746"/>
              <a:gd name="connsiteY1" fmla="*/ 0 h 3291840"/>
              <a:gd name="connsiteX2" fmla="*/ 2743746 w 2743746"/>
              <a:gd name="connsiteY2" fmla="*/ 0 h 3291840"/>
              <a:gd name="connsiteX3" fmla="*/ 2743746 w 2743746"/>
              <a:gd name="connsiteY3" fmla="*/ 3059491 h 3291840"/>
              <a:gd name="connsiteX4" fmla="*/ 2511397 w 2743746"/>
              <a:gd name="connsiteY4" fmla="*/ 3291840 h 3291840"/>
              <a:gd name="connsiteX5" fmla="*/ 546 w 2743746"/>
              <a:gd name="connsiteY5" fmla="*/ 3291840 h 3291840"/>
              <a:gd name="connsiteX6" fmla="*/ 546 w 2743746"/>
              <a:gd name="connsiteY6" fmla="*/ 3291840 h 3291840"/>
              <a:gd name="connsiteX7" fmla="*/ 2578 w 2743746"/>
              <a:gd name="connsiteY7" fmla="*/ 4320 h 3291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43746" h="3291840">
                <a:moveTo>
                  <a:pt x="2578" y="4320"/>
                </a:moveTo>
                <a:lnTo>
                  <a:pt x="2743746" y="0"/>
                </a:lnTo>
                <a:lnTo>
                  <a:pt x="2743746" y="0"/>
                </a:lnTo>
                <a:lnTo>
                  <a:pt x="2743746" y="3059491"/>
                </a:lnTo>
                <a:cubicBezTo>
                  <a:pt x="2743746" y="3187814"/>
                  <a:pt x="2639720" y="3291840"/>
                  <a:pt x="2511397" y="3291840"/>
                </a:cubicBezTo>
                <a:lnTo>
                  <a:pt x="546" y="3291840"/>
                </a:lnTo>
                <a:lnTo>
                  <a:pt x="546" y="3291840"/>
                </a:lnTo>
                <a:cubicBezTo>
                  <a:pt x="-1952" y="2197058"/>
                  <a:pt x="5076" y="1099102"/>
                  <a:pt x="2578" y="432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DF44E331-A46F-418D-9D7E-A5E1C5DD23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3075" y="1289010"/>
            <a:ext cx="5165725" cy="5111790"/>
          </a:xfrm>
          <a:prstGeom prst="rect">
            <a:avLst/>
          </a:prstGeom>
        </p:spPr>
        <p:txBody>
          <a:bodyPr anchor="ctr" anchorCtr="0"/>
          <a:lstStyle>
            <a:lvl1pPr marL="285750" indent="-285750">
              <a:buClr>
                <a:schemeClr val="tx1"/>
              </a:buClr>
              <a:buFontTx/>
              <a:buBlip>
                <a:blip r:embed="rId3"/>
              </a:buBlip>
              <a:defRPr sz="200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6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674C62-10A3-0F47-ADDB-FD34F1BBDD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65927"/>
            <a:ext cx="5165725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979A9B-1009-BE4D-B89C-EBFA57F7ECB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164529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5437C5E-E688-406B-9B99-43A0D27B5D9D}"/>
              </a:ext>
            </a:extLst>
          </p:cNvPr>
          <p:cNvSpPr/>
          <p:nvPr/>
        </p:nvSpPr>
        <p:spPr>
          <a:xfrm>
            <a:off x="1524" y="1714"/>
            <a:ext cx="12186412" cy="6856286"/>
          </a:xfrm>
          <a:custGeom>
            <a:avLst/>
            <a:gdLst>
              <a:gd name="connsiteX0" fmla="*/ 12186412 w 12186412"/>
              <a:gd name="connsiteY0" fmla="*/ 2539 h 6856286"/>
              <a:gd name="connsiteX1" fmla="*/ 12186412 w 12186412"/>
              <a:gd name="connsiteY1" fmla="*/ 6856286 h 6856286"/>
              <a:gd name="connsiteX2" fmla="*/ 0 w 12186412"/>
              <a:gd name="connsiteY2" fmla="*/ 6856286 h 6856286"/>
              <a:gd name="connsiteX3" fmla="*/ 0 w 12186412"/>
              <a:gd name="connsiteY3" fmla="*/ 0 h 6856286"/>
              <a:gd name="connsiteX4" fmla="*/ 406298 w 12186412"/>
              <a:gd name="connsiteY4" fmla="*/ 393602 h 6856286"/>
              <a:gd name="connsiteX5" fmla="*/ 812597 w 12186412"/>
              <a:gd name="connsiteY5" fmla="*/ 0 h 6856286"/>
              <a:gd name="connsiteX6" fmla="*/ 1218895 w 12186412"/>
              <a:gd name="connsiteY6" fmla="*/ 393602 h 6856286"/>
              <a:gd name="connsiteX7" fmla="*/ 1625194 w 12186412"/>
              <a:gd name="connsiteY7" fmla="*/ 0 h 6856286"/>
              <a:gd name="connsiteX8" fmla="*/ 2031492 w 12186412"/>
              <a:gd name="connsiteY8" fmla="*/ 393602 h 6856286"/>
              <a:gd name="connsiteX9" fmla="*/ 2437791 w 12186412"/>
              <a:gd name="connsiteY9" fmla="*/ 0 h 6856286"/>
              <a:gd name="connsiteX10" fmla="*/ 2844089 w 12186412"/>
              <a:gd name="connsiteY10" fmla="*/ 393602 h 6856286"/>
              <a:gd name="connsiteX11" fmla="*/ 3250387 w 12186412"/>
              <a:gd name="connsiteY11" fmla="*/ 0 h 6856286"/>
              <a:gd name="connsiteX12" fmla="*/ 3656686 w 12186412"/>
              <a:gd name="connsiteY12" fmla="*/ 393602 h 6856286"/>
              <a:gd name="connsiteX13" fmla="*/ 4062984 w 12186412"/>
              <a:gd name="connsiteY13" fmla="*/ 0 h 6856286"/>
              <a:gd name="connsiteX14" fmla="*/ 4469283 w 12186412"/>
              <a:gd name="connsiteY14" fmla="*/ 393602 h 6856286"/>
              <a:gd name="connsiteX15" fmla="*/ 4875581 w 12186412"/>
              <a:gd name="connsiteY15" fmla="*/ 0 h 6856286"/>
              <a:gd name="connsiteX16" fmla="*/ 5281879 w 12186412"/>
              <a:gd name="connsiteY16" fmla="*/ 393602 h 6856286"/>
              <a:gd name="connsiteX17" fmla="*/ 5688178 w 12186412"/>
              <a:gd name="connsiteY17" fmla="*/ 0 h 6856286"/>
              <a:gd name="connsiteX18" fmla="*/ 6094476 w 12186412"/>
              <a:gd name="connsiteY18" fmla="*/ 393602 h 6856286"/>
              <a:gd name="connsiteX19" fmla="*/ 6500775 w 12186412"/>
              <a:gd name="connsiteY19" fmla="*/ 0 h 6856286"/>
              <a:gd name="connsiteX20" fmla="*/ 6907073 w 12186412"/>
              <a:gd name="connsiteY20" fmla="*/ 393602 h 6856286"/>
              <a:gd name="connsiteX21" fmla="*/ 7313371 w 12186412"/>
              <a:gd name="connsiteY21" fmla="*/ 0 h 6856286"/>
              <a:gd name="connsiteX22" fmla="*/ 7719670 w 12186412"/>
              <a:gd name="connsiteY22" fmla="*/ 393602 h 6856286"/>
              <a:gd name="connsiteX23" fmla="*/ 8125968 w 12186412"/>
              <a:gd name="connsiteY23" fmla="*/ 0 h 6856286"/>
              <a:gd name="connsiteX24" fmla="*/ 8532266 w 12186412"/>
              <a:gd name="connsiteY24" fmla="*/ 393602 h 6856286"/>
              <a:gd name="connsiteX25" fmla="*/ 8938565 w 12186412"/>
              <a:gd name="connsiteY25" fmla="*/ 0 h 6856286"/>
              <a:gd name="connsiteX26" fmla="*/ 9344863 w 12186412"/>
              <a:gd name="connsiteY26" fmla="*/ 393602 h 6856286"/>
              <a:gd name="connsiteX27" fmla="*/ 9751162 w 12186412"/>
              <a:gd name="connsiteY27" fmla="*/ 0 h 6856286"/>
              <a:gd name="connsiteX28" fmla="*/ 10157460 w 12186412"/>
              <a:gd name="connsiteY28" fmla="*/ 393602 h 6856286"/>
              <a:gd name="connsiteX29" fmla="*/ 10563758 w 12186412"/>
              <a:gd name="connsiteY29" fmla="*/ 0 h 6856286"/>
              <a:gd name="connsiteX30" fmla="*/ 10970057 w 12186412"/>
              <a:gd name="connsiteY30" fmla="*/ 393602 h 6856286"/>
              <a:gd name="connsiteX31" fmla="*/ 11376355 w 12186412"/>
              <a:gd name="connsiteY31" fmla="*/ 0 h 6856286"/>
              <a:gd name="connsiteX32" fmla="*/ 11782654 w 12186412"/>
              <a:gd name="connsiteY32" fmla="*/ 393602 h 6856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2186412" h="6856286">
                <a:moveTo>
                  <a:pt x="12186412" y="2539"/>
                </a:moveTo>
                <a:lnTo>
                  <a:pt x="12186412" y="6856286"/>
                </a:lnTo>
                <a:lnTo>
                  <a:pt x="0" y="6856286"/>
                </a:lnTo>
                <a:lnTo>
                  <a:pt x="0" y="0"/>
                </a:lnTo>
                <a:lnTo>
                  <a:pt x="406298" y="393602"/>
                </a:lnTo>
                <a:lnTo>
                  <a:pt x="812597" y="0"/>
                </a:lnTo>
                <a:lnTo>
                  <a:pt x="1218895" y="393602"/>
                </a:lnTo>
                <a:lnTo>
                  <a:pt x="1625194" y="0"/>
                </a:lnTo>
                <a:lnTo>
                  <a:pt x="2031492" y="393602"/>
                </a:lnTo>
                <a:lnTo>
                  <a:pt x="2437791" y="0"/>
                </a:lnTo>
                <a:lnTo>
                  <a:pt x="2844089" y="393602"/>
                </a:lnTo>
                <a:lnTo>
                  <a:pt x="3250387" y="0"/>
                </a:lnTo>
                <a:lnTo>
                  <a:pt x="3656686" y="393602"/>
                </a:lnTo>
                <a:lnTo>
                  <a:pt x="4062984" y="0"/>
                </a:lnTo>
                <a:lnTo>
                  <a:pt x="4469283" y="393602"/>
                </a:lnTo>
                <a:lnTo>
                  <a:pt x="4875581" y="0"/>
                </a:lnTo>
                <a:lnTo>
                  <a:pt x="5281879" y="393602"/>
                </a:lnTo>
                <a:lnTo>
                  <a:pt x="5688178" y="0"/>
                </a:lnTo>
                <a:lnTo>
                  <a:pt x="6094476" y="393602"/>
                </a:lnTo>
                <a:lnTo>
                  <a:pt x="6500775" y="0"/>
                </a:lnTo>
                <a:lnTo>
                  <a:pt x="6907073" y="393602"/>
                </a:lnTo>
                <a:lnTo>
                  <a:pt x="7313371" y="0"/>
                </a:lnTo>
                <a:lnTo>
                  <a:pt x="7719670" y="393602"/>
                </a:lnTo>
                <a:lnTo>
                  <a:pt x="8125968" y="0"/>
                </a:lnTo>
                <a:lnTo>
                  <a:pt x="8532266" y="393602"/>
                </a:lnTo>
                <a:lnTo>
                  <a:pt x="8938565" y="0"/>
                </a:lnTo>
                <a:lnTo>
                  <a:pt x="9344863" y="393602"/>
                </a:lnTo>
                <a:lnTo>
                  <a:pt x="9751162" y="0"/>
                </a:lnTo>
                <a:lnTo>
                  <a:pt x="10157460" y="393602"/>
                </a:lnTo>
                <a:lnTo>
                  <a:pt x="10563758" y="0"/>
                </a:lnTo>
                <a:lnTo>
                  <a:pt x="10970057" y="393602"/>
                </a:lnTo>
                <a:lnTo>
                  <a:pt x="11376355" y="0"/>
                </a:lnTo>
                <a:lnTo>
                  <a:pt x="11782654" y="393602"/>
                </a:lnTo>
                <a:close/>
              </a:path>
            </a:pathLst>
          </a:custGeom>
          <a:solidFill>
            <a:schemeClr val="accent5"/>
          </a:solidFill>
          <a:ln w="1269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1" name="Graphic 3">
            <a:extLst>
              <a:ext uri="{FF2B5EF4-FFF2-40B4-BE49-F238E27FC236}">
                <a16:creationId xmlns:a16="http://schemas.microsoft.com/office/drawing/2014/main" id="{042BD36D-E763-406E-80F6-9A8BF466969E}"/>
              </a:ext>
            </a:extLst>
          </p:cNvPr>
          <p:cNvSpPr>
            <a:spLocks/>
          </p:cNvSpPr>
          <p:nvPr/>
        </p:nvSpPr>
        <p:spPr>
          <a:xfrm>
            <a:off x="1524" y="6263640"/>
            <a:ext cx="12188952" cy="59436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DED9ED8-6696-471C-AE28-12A9A0B70B7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396" r="34344" b="58268"/>
          <a:stretch/>
        </p:blipFill>
        <p:spPr>
          <a:xfrm>
            <a:off x="4937760" y="3036696"/>
            <a:ext cx="7254240" cy="38213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1371600"/>
            <a:ext cx="11521758" cy="1828800"/>
          </a:xfrm>
        </p:spPr>
        <p:txBody>
          <a:bodyPr lIns="91440" rIns="91440" anchor="t" anchorCtr="0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084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 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brow">
            <a:extLst>
              <a:ext uri="{FF2B5EF4-FFF2-40B4-BE49-F238E27FC236}">
                <a16:creationId xmlns:a16="http://schemas.microsoft.com/office/drawing/2014/main" id="{48D18D2C-3CAC-4960-81EF-43B50030760B}"/>
              </a:ext>
            </a:extLst>
          </p:cNvPr>
          <p:cNvGrpSpPr/>
          <p:nvPr/>
        </p:nvGrpSpPr>
        <p:grpSpPr>
          <a:xfrm>
            <a:off x="10027920" y="228600"/>
            <a:ext cx="1828800" cy="914400"/>
            <a:chOff x="10027920" y="2606040"/>
            <a:chExt cx="1828800" cy="914400"/>
          </a:xfrm>
          <a:solidFill>
            <a:schemeClr val="accent1"/>
          </a:solidFill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72916CA-482F-410B-8F5F-999B8A5606B0}"/>
                </a:ext>
              </a:extLst>
            </p:cNvPr>
            <p:cNvSpPr/>
            <p:nvPr/>
          </p:nvSpPr>
          <p:spPr>
            <a:xfrm>
              <a:off x="10027920" y="2606040"/>
              <a:ext cx="1828800" cy="1828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12DA3C7-0514-4C41-B1CC-10A18B6A7810}"/>
                </a:ext>
              </a:extLst>
            </p:cNvPr>
            <p:cNvSpPr/>
            <p:nvPr/>
          </p:nvSpPr>
          <p:spPr>
            <a:xfrm>
              <a:off x="11673840" y="2606040"/>
              <a:ext cx="182880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</p:grpSp>
      <p:sp>
        <p:nvSpPr>
          <p:cNvPr id="5" name="Title">
            <a:extLst>
              <a:ext uri="{FF2B5EF4-FFF2-40B4-BE49-F238E27FC236}">
                <a16:creationId xmlns:a16="http://schemas.microsoft.com/office/drawing/2014/main" id="{6B5B6BBA-FD45-41F6-9564-1F7EBBB74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3916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C58CB3D4-30D8-4DBB-A3FA-4554ED58370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-1" r="35592" b="23725"/>
          <a:stretch/>
        </p:blipFill>
        <p:spPr>
          <a:xfrm>
            <a:off x="5379721" y="416321"/>
            <a:ext cx="6812279" cy="64416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228600"/>
            <a:ext cx="5760720" cy="3200400"/>
          </a:xfrm>
        </p:spPr>
        <p:txBody>
          <a:bodyPr lIns="91440" rIns="91440" anchor="b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280" y="3429000"/>
            <a:ext cx="5760720" cy="3200400"/>
          </a:xfrm>
        </p:spPr>
        <p:txBody>
          <a:bodyPr lIns="137160" tIns="182880" rIns="137160" bIns="182880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96894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aphic 3">
            <a:extLst>
              <a:ext uri="{FF2B5EF4-FFF2-40B4-BE49-F238E27FC236}">
                <a16:creationId xmlns:a16="http://schemas.microsoft.com/office/drawing/2014/main" id="{4D4F4101-10C5-4019-90A9-11F504117E2C}"/>
              </a:ext>
            </a:extLst>
          </p:cNvPr>
          <p:cNvSpPr>
            <a:spLocks/>
          </p:cNvSpPr>
          <p:nvPr/>
        </p:nvSpPr>
        <p:spPr>
          <a:xfrm>
            <a:off x="1524" y="6263640"/>
            <a:ext cx="12188952" cy="59436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67B3453-D9F6-43AF-B722-4CCF6B26FB3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-1" r="35592" b="23725"/>
          <a:stretch/>
        </p:blipFill>
        <p:spPr>
          <a:xfrm>
            <a:off x="5379721" y="416321"/>
            <a:ext cx="6812279" cy="64416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228600"/>
            <a:ext cx="5760720" cy="3200400"/>
          </a:xfrm>
        </p:spPr>
        <p:txBody>
          <a:bodyPr lIns="91440" rIns="91440" anchor="b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280" y="3428999"/>
            <a:ext cx="5760720" cy="3200399"/>
          </a:xfrm>
        </p:spPr>
        <p:txBody>
          <a:bodyPr lIns="137160" tIns="182880" rIns="137160" bIns="182880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37964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095532DA-6405-471A-924F-9BD6A6B1F35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74533" b="57798"/>
          <a:stretch/>
        </p:blipFill>
        <p:spPr>
          <a:xfrm>
            <a:off x="7700220" y="914400"/>
            <a:ext cx="4491780" cy="59436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79" y="228600"/>
            <a:ext cx="7791133" cy="3200400"/>
          </a:xfrm>
        </p:spPr>
        <p:txBody>
          <a:bodyPr lIns="91440" rIns="91440" anchor="b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279" y="3429000"/>
            <a:ext cx="7791133" cy="3200400"/>
          </a:xfrm>
        </p:spPr>
        <p:txBody>
          <a:bodyPr lIns="137160" tIns="182880" rIns="137160" bIns="182880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6338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1371600"/>
            <a:ext cx="11521757" cy="1828800"/>
          </a:xfrm>
        </p:spPr>
        <p:txBody>
          <a:bodyPr lIns="91440" rIns="91440" anchor="t" anchorCtr="0">
            <a:noAutofit/>
          </a:bodyPr>
          <a:lstStyle>
            <a:lvl1pPr algn="r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362A543-3733-441F-8567-155CE2234F4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396" r="34344" b="58268"/>
          <a:stretch/>
        </p:blipFill>
        <p:spPr>
          <a:xfrm flipH="1">
            <a:off x="0" y="3036696"/>
            <a:ext cx="7254240" cy="38213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48858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1371600"/>
            <a:ext cx="11521440" cy="1828800"/>
          </a:xfrm>
        </p:spPr>
        <p:txBody>
          <a:bodyPr lIns="91440" rIns="91440" anchor="t" anchorCtr="0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5A367CF-DC60-40EA-9DDA-9041D5B07D1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396" r="34344" b="58268"/>
          <a:stretch/>
        </p:blipFill>
        <p:spPr>
          <a:xfrm>
            <a:off x="4937760" y="3036696"/>
            <a:ext cx="7254240" cy="38213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4388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55520" y="2514600"/>
            <a:ext cx="7680960" cy="1828800"/>
          </a:xfrm>
        </p:spPr>
        <p:txBody>
          <a:bodyPr lIns="91440" r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31309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55520" y="2514600"/>
            <a:ext cx="7680960" cy="1828800"/>
          </a:xfrm>
        </p:spPr>
        <p:txBody>
          <a:bodyPr lIns="91440" rIns="91440" anchor="ctr" anchorCtr="0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8109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5437C5E-E688-406B-9B99-43A0D27B5D9D}"/>
              </a:ext>
            </a:extLst>
          </p:cNvPr>
          <p:cNvSpPr/>
          <p:nvPr/>
        </p:nvSpPr>
        <p:spPr>
          <a:xfrm>
            <a:off x="1524" y="1714"/>
            <a:ext cx="12186412" cy="6856286"/>
          </a:xfrm>
          <a:custGeom>
            <a:avLst/>
            <a:gdLst>
              <a:gd name="connsiteX0" fmla="*/ 12186412 w 12186412"/>
              <a:gd name="connsiteY0" fmla="*/ 2539 h 6856286"/>
              <a:gd name="connsiteX1" fmla="*/ 12186412 w 12186412"/>
              <a:gd name="connsiteY1" fmla="*/ 6856286 h 6856286"/>
              <a:gd name="connsiteX2" fmla="*/ 0 w 12186412"/>
              <a:gd name="connsiteY2" fmla="*/ 6856286 h 6856286"/>
              <a:gd name="connsiteX3" fmla="*/ 0 w 12186412"/>
              <a:gd name="connsiteY3" fmla="*/ 0 h 6856286"/>
              <a:gd name="connsiteX4" fmla="*/ 406298 w 12186412"/>
              <a:gd name="connsiteY4" fmla="*/ 393602 h 6856286"/>
              <a:gd name="connsiteX5" fmla="*/ 812597 w 12186412"/>
              <a:gd name="connsiteY5" fmla="*/ 0 h 6856286"/>
              <a:gd name="connsiteX6" fmla="*/ 1218895 w 12186412"/>
              <a:gd name="connsiteY6" fmla="*/ 393602 h 6856286"/>
              <a:gd name="connsiteX7" fmla="*/ 1625194 w 12186412"/>
              <a:gd name="connsiteY7" fmla="*/ 0 h 6856286"/>
              <a:gd name="connsiteX8" fmla="*/ 2031492 w 12186412"/>
              <a:gd name="connsiteY8" fmla="*/ 393602 h 6856286"/>
              <a:gd name="connsiteX9" fmla="*/ 2437791 w 12186412"/>
              <a:gd name="connsiteY9" fmla="*/ 0 h 6856286"/>
              <a:gd name="connsiteX10" fmla="*/ 2844089 w 12186412"/>
              <a:gd name="connsiteY10" fmla="*/ 393602 h 6856286"/>
              <a:gd name="connsiteX11" fmla="*/ 3250387 w 12186412"/>
              <a:gd name="connsiteY11" fmla="*/ 0 h 6856286"/>
              <a:gd name="connsiteX12" fmla="*/ 3656686 w 12186412"/>
              <a:gd name="connsiteY12" fmla="*/ 393602 h 6856286"/>
              <a:gd name="connsiteX13" fmla="*/ 4062984 w 12186412"/>
              <a:gd name="connsiteY13" fmla="*/ 0 h 6856286"/>
              <a:gd name="connsiteX14" fmla="*/ 4469283 w 12186412"/>
              <a:gd name="connsiteY14" fmla="*/ 393602 h 6856286"/>
              <a:gd name="connsiteX15" fmla="*/ 4875581 w 12186412"/>
              <a:gd name="connsiteY15" fmla="*/ 0 h 6856286"/>
              <a:gd name="connsiteX16" fmla="*/ 5281879 w 12186412"/>
              <a:gd name="connsiteY16" fmla="*/ 393602 h 6856286"/>
              <a:gd name="connsiteX17" fmla="*/ 5688178 w 12186412"/>
              <a:gd name="connsiteY17" fmla="*/ 0 h 6856286"/>
              <a:gd name="connsiteX18" fmla="*/ 6094476 w 12186412"/>
              <a:gd name="connsiteY18" fmla="*/ 393602 h 6856286"/>
              <a:gd name="connsiteX19" fmla="*/ 6500775 w 12186412"/>
              <a:gd name="connsiteY19" fmla="*/ 0 h 6856286"/>
              <a:gd name="connsiteX20" fmla="*/ 6907073 w 12186412"/>
              <a:gd name="connsiteY20" fmla="*/ 393602 h 6856286"/>
              <a:gd name="connsiteX21" fmla="*/ 7313371 w 12186412"/>
              <a:gd name="connsiteY21" fmla="*/ 0 h 6856286"/>
              <a:gd name="connsiteX22" fmla="*/ 7719670 w 12186412"/>
              <a:gd name="connsiteY22" fmla="*/ 393602 h 6856286"/>
              <a:gd name="connsiteX23" fmla="*/ 8125968 w 12186412"/>
              <a:gd name="connsiteY23" fmla="*/ 0 h 6856286"/>
              <a:gd name="connsiteX24" fmla="*/ 8532266 w 12186412"/>
              <a:gd name="connsiteY24" fmla="*/ 393602 h 6856286"/>
              <a:gd name="connsiteX25" fmla="*/ 8938565 w 12186412"/>
              <a:gd name="connsiteY25" fmla="*/ 0 h 6856286"/>
              <a:gd name="connsiteX26" fmla="*/ 9344863 w 12186412"/>
              <a:gd name="connsiteY26" fmla="*/ 393602 h 6856286"/>
              <a:gd name="connsiteX27" fmla="*/ 9751162 w 12186412"/>
              <a:gd name="connsiteY27" fmla="*/ 0 h 6856286"/>
              <a:gd name="connsiteX28" fmla="*/ 10157460 w 12186412"/>
              <a:gd name="connsiteY28" fmla="*/ 393602 h 6856286"/>
              <a:gd name="connsiteX29" fmla="*/ 10563758 w 12186412"/>
              <a:gd name="connsiteY29" fmla="*/ 0 h 6856286"/>
              <a:gd name="connsiteX30" fmla="*/ 10970057 w 12186412"/>
              <a:gd name="connsiteY30" fmla="*/ 393602 h 6856286"/>
              <a:gd name="connsiteX31" fmla="*/ 11376355 w 12186412"/>
              <a:gd name="connsiteY31" fmla="*/ 0 h 6856286"/>
              <a:gd name="connsiteX32" fmla="*/ 11782654 w 12186412"/>
              <a:gd name="connsiteY32" fmla="*/ 393602 h 6856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2186412" h="6856286">
                <a:moveTo>
                  <a:pt x="12186412" y="2539"/>
                </a:moveTo>
                <a:lnTo>
                  <a:pt x="12186412" y="6856286"/>
                </a:lnTo>
                <a:lnTo>
                  <a:pt x="0" y="6856286"/>
                </a:lnTo>
                <a:lnTo>
                  <a:pt x="0" y="0"/>
                </a:lnTo>
                <a:lnTo>
                  <a:pt x="406298" y="393602"/>
                </a:lnTo>
                <a:lnTo>
                  <a:pt x="812597" y="0"/>
                </a:lnTo>
                <a:lnTo>
                  <a:pt x="1218895" y="393602"/>
                </a:lnTo>
                <a:lnTo>
                  <a:pt x="1625194" y="0"/>
                </a:lnTo>
                <a:lnTo>
                  <a:pt x="2031492" y="393602"/>
                </a:lnTo>
                <a:lnTo>
                  <a:pt x="2437791" y="0"/>
                </a:lnTo>
                <a:lnTo>
                  <a:pt x="2844089" y="393602"/>
                </a:lnTo>
                <a:lnTo>
                  <a:pt x="3250387" y="0"/>
                </a:lnTo>
                <a:lnTo>
                  <a:pt x="3656686" y="393602"/>
                </a:lnTo>
                <a:lnTo>
                  <a:pt x="4062984" y="0"/>
                </a:lnTo>
                <a:lnTo>
                  <a:pt x="4469283" y="393602"/>
                </a:lnTo>
                <a:lnTo>
                  <a:pt x="4875581" y="0"/>
                </a:lnTo>
                <a:lnTo>
                  <a:pt x="5281879" y="393602"/>
                </a:lnTo>
                <a:lnTo>
                  <a:pt x="5688178" y="0"/>
                </a:lnTo>
                <a:lnTo>
                  <a:pt x="6094476" y="393602"/>
                </a:lnTo>
                <a:lnTo>
                  <a:pt x="6500775" y="0"/>
                </a:lnTo>
                <a:lnTo>
                  <a:pt x="6907073" y="393602"/>
                </a:lnTo>
                <a:lnTo>
                  <a:pt x="7313371" y="0"/>
                </a:lnTo>
                <a:lnTo>
                  <a:pt x="7719670" y="393602"/>
                </a:lnTo>
                <a:lnTo>
                  <a:pt x="8125968" y="0"/>
                </a:lnTo>
                <a:lnTo>
                  <a:pt x="8532266" y="393602"/>
                </a:lnTo>
                <a:lnTo>
                  <a:pt x="8938565" y="0"/>
                </a:lnTo>
                <a:lnTo>
                  <a:pt x="9344863" y="393602"/>
                </a:lnTo>
                <a:lnTo>
                  <a:pt x="9751162" y="0"/>
                </a:lnTo>
                <a:lnTo>
                  <a:pt x="10157460" y="393602"/>
                </a:lnTo>
                <a:lnTo>
                  <a:pt x="10563758" y="0"/>
                </a:lnTo>
                <a:lnTo>
                  <a:pt x="10970057" y="393602"/>
                </a:lnTo>
                <a:lnTo>
                  <a:pt x="11376355" y="0"/>
                </a:lnTo>
                <a:lnTo>
                  <a:pt x="11782654" y="393602"/>
                </a:lnTo>
                <a:close/>
              </a:path>
            </a:pathLst>
          </a:custGeom>
          <a:solidFill>
            <a:schemeClr val="accent5"/>
          </a:solidFill>
          <a:ln w="126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Graphic 3">
            <a:extLst>
              <a:ext uri="{FF2B5EF4-FFF2-40B4-BE49-F238E27FC236}">
                <a16:creationId xmlns:a16="http://schemas.microsoft.com/office/drawing/2014/main" id="{042BD36D-E763-406E-80F6-9A8BF466969E}"/>
              </a:ext>
            </a:extLst>
          </p:cNvPr>
          <p:cNvSpPr>
            <a:spLocks/>
          </p:cNvSpPr>
          <p:nvPr/>
        </p:nvSpPr>
        <p:spPr>
          <a:xfrm>
            <a:off x="1524" y="6263640"/>
            <a:ext cx="12188952" cy="59436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DED9ED8-6696-471C-AE28-12A9A0B70B7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396" r="34344" b="58268"/>
          <a:stretch/>
        </p:blipFill>
        <p:spPr>
          <a:xfrm>
            <a:off x="4937760" y="3036696"/>
            <a:ext cx="7254240" cy="38213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1371600"/>
            <a:ext cx="11521758" cy="1828800"/>
          </a:xfrm>
        </p:spPr>
        <p:txBody>
          <a:bodyPr lIns="91440" rIns="91440" anchor="t" anchorCtr="0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137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5756" y="228600"/>
            <a:ext cx="8980963" cy="6400800"/>
          </a:xfrm>
        </p:spPr>
        <p:txBody>
          <a:bodyPr lIns="91440" r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6632972-0214-46FD-A878-4AF515D597F4}"/>
              </a:ext>
            </a:extLst>
          </p:cNvPr>
          <p:cNvGrpSpPr>
            <a:grpSpLocks noChangeAspect="1"/>
          </p:cNvGrpSpPr>
          <p:nvPr/>
        </p:nvGrpSpPr>
        <p:grpSpPr>
          <a:xfrm>
            <a:off x="335280" y="0"/>
            <a:ext cx="2286430" cy="6858000"/>
            <a:chOff x="5238750" y="409575"/>
            <a:chExt cx="1714500" cy="5142547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45963C2-1EC4-4E2D-B75E-6A546BA39706}"/>
                </a:ext>
              </a:extLst>
            </p:cNvPr>
            <p:cNvSpPr/>
            <p:nvPr/>
          </p:nvSpPr>
          <p:spPr>
            <a:xfrm>
              <a:off x="5238750" y="410527"/>
              <a:ext cx="190500" cy="4507230"/>
            </a:xfrm>
            <a:custGeom>
              <a:avLst/>
              <a:gdLst>
                <a:gd name="connsiteX0" fmla="*/ 0 w 190500"/>
                <a:gd name="connsiteY0" fmla="*/ 0 h 4507230"/>
                <a:gd name="connsiteX1" fmla="*/ 190500 w 190500"/>
                <a:gd name="connsiteY1" fmla="*/ 0 h 4507230"/>
                <a:gd name="connsiteX2" fmla="*/ 190500 w 190500"/>
                <a:gd name="connsiteY2" fmla="*/ 4507230 h 4507230"/>
                <a:gd name="connsiteX3" fmla="*/ 0 w 190500"/>
                <a:gd name="connsiteY3" fmla="*/ 4507230 h 4507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4507230">
                  <a:moveTo>
                    <a:pt x="0" y="0"/>
                  </a:moveTo>
                  <a:lnTo>
                    <a:pt x="190500" y="0"/>
                  </a:lnTo>
                  <a:lnTo>
                    <a:pt x="190500" y="4507230"/>
                  </a:lnTo>
                  <a:lnTo>
                    <a:pt x="0" y="4507230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84C0229-DA67-47A9-BA7A-97AB3FAED288}"/>
                </a:ext>
              </a:extLst>
            </p:cNvPr>
            <p:cNvSpPr/>
            <p:nvPr/>
          </p:nvSpPr>
          <p:spPr>
            <a:xfrm>
              <a:off x="5619750" y="409575"/>
              <a:ext cx="190500" cy="5141595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808164D-01AB-4096-8422-767E7658E3BD}"/>
                </a:ext>
              </a:extLst>
            </p:cNvPr>
            <p:cNvSpPr/>
            <p:nvPr/>
          </p:nvSpPr>
          <p:spPr>
            <a:xfrm>
              <a:off x="6000750" y="410527"/>
              <a:ext cx="190500" cy="5141595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F8088A8-1325-4B25-BB22-E64A88DB3072}"/>
                </a:ext>
              </a:extLst>
            </p:cNvPr>
            <p:cNvSpPr/>
            <p:nvPr/>
          </p:nvSpPr>
          <p:spPr>
            <a:xfrm>
              <a:off x="6381750" y="410527"/>
              <a:ext cx="190500" cy="5141595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C4AB042-B90E-4B77-9862-8671275DF8D8}"/>
                </a:ext>
              </a:extLst>
            </p:cNvPr>
            <p:cNvSpPr/>
            <p:nvPr/>
          </p:nvSpPr>
          <p:spPr>
            <a:xfrm>
              <a:off x="6762750" y="410527"/>
              <a:ext cx="190500" cy="4507230"/>
            </a:xfrm>
            <a:custGeom>
              <a:avLst/>
              <a:gdLst>
                <a:gd name="connsiteX0" fmla="*/ 0 w 190500"/>
                <a:gd name="connsiteY0" fmla="*/ 0 h 4507230"/>
                <a:gd name="connsiteX1" fmla="*/ 190500 w 190500"/>
                <a:gd name="connsiteY1" fmla="*/ 0 h 4507230"/>
                <a:gd name="connsiteX2" fmla="*/ 190500 w 190500"/>
                <a:gd name="connsiteY2" fmla="*/ 4507230 h 4507230"/>
                <a:gd name="connsiteX3" fmla="*/ 0 w 190500"/>
                <a:gd name="connsiteY3" fmla="*/ 4507230 h 4507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4507230">
                  <a:moveTo>
                    <a:pt x="0" y="0"/>
                  </a:moveTo>
                  <a:lnTo>
                    <a:pt x="190500" y="0"/>
                  </a:lnTo>
                  <a:lnTo>
                    <a:pt x="190500" y="4507230"/>
                  </a:lnTo>
                  <a:lnTo>
                    <a:pt x="0" y="4507230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5C924AC-3033-4505-8283-CCF2557C0F0A}"/>
                </a:ext>
              </a:extLst>
            </p:cNvPr>
            <p:cNvSpPr/>
            <p:nvPr/>
          </p:nvSpPr>
          <p:spPr>
            <a:xfrm>
              <a:off x="5238750" y="4918710"/>
              <a:ext cx="1714500" cy="632461"/>
            </a:xfrm>
            <a:custGeom>
              <a:avLst/>
              <a:gdLst>
                <a:gd name="connsiteX0" fmla="*/ 0 w 1714500"/>
                <a:gd name="connsiteY0" fmla="*/ 0 h 632461"/>
                <a:gd name="connsiteX1" fmla="*/ 206693 w 1714500"/>
                <a:gd name="connsiteY1" fmla="*/ 0 h 632461"/>
                <a:gd name="connsiteX2" fmla="*/ 857250 w 1714500"/>
                <a:gd name="connsiteY2" fmla="*/ 485775 h 632461"/>
                <a:gd name="connsiteX3" fmla="*/ 1507808 w 1714500"/>
                <a:gd name="connsiteY3" fmla="*/ 0 h 632461"/>
                <a:gd name="connsiteX4" fmla="*/ 1714500 w 1714500"/>
                <a:gd name="connsiteY4" fmla="*/ 0 h 632461"/>
                <a:gd name="connsiteX5" fmla="*/ 1617107 w 1714500"/>
                <a:gd name="connsiteY5" fmla="*/ 583168 h 632461"/>
                <a:gd name="connsiteX6" fmla="*/ 1607596 w 1714500"/>
                <a:gd name="connsiteY6" fmla="*/ 632461 h 632461"/>
                <a:gd name="connsiteX7" fmla="*/ 106200 w 1714500"/>
                <a:gd name="connsiteY7" fmla="*/ 632461 h 632461"/>
                <a:gd name="connsiteX8" fmla="*/ 96679 w 1714500"/>
                <a:gd name="connsiteY8" fmla="*/ 583168 h 632461"/>
                <a:gd name="connsiteX9" fmla="*/ 0 w 1714500"/>
                <a:gd name="connsiteY9" fmla="*/ 0 h 632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14500" h="632461">
                  <a:moveTo>
                    <a:pt x="0" y="0"/>
                  </a:moveTo>
                  <a:lnTo>
                    <a:pt x="206693" y="0"/>
                  </a:lnTo>
                  <a:cubicBezTo>
                    <a:pt x="243840" y="98108"/>
                    <a:pt x="418148" y="485775"/>
                    <a:pt x="857250" y="485775"/>
                  </a:cubicBezTo>
                  <a:cubicBezTo>
                    <a:pt x="1296353" y="485775"/>
                    <a:pt x="1470660" y="98108"/>
                    <a:pt x="1507808" y="0"/>
                  </a:cubicBezTo>
                  <a:lnTo>
                    <a:pt x="1714500" y="0"/>
                  </a:lnTo>
                  <a:cubicBezTo>
                    <a:pt x="1702594" y="79057"/>
                    <a:pt x="1668066" y="307896"/>
                    <a:pt x="1617107" y="583168"/>
                  </a:cubicBezTo>
                  <a:lnTo>
                    <a:pt x="1607596" y="632461"/>
                  </a:lnTo>
                  <a:lnTo>
                    <a:pt x="106200" y="632461"/>
                  </a:lnTo>
                  <a:lnTo>
                    <a:pt x="96679" y="583168"/>
                  </a:lnTo>
                  <a:cubicBezTo>
                    <a:pt x="45720" y="307896"/>
                    <a:pt x="11430" y="79057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91327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5756" y="228600"/>
            <a:ext cx="8980963" cy="6400800"/>
          </a:xfrm>
        </p:spPr>
        <p:txBody>
          <a:bodyPr lIns="91440" r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6632972-0214-46FD-A878-4AF515D597F4}"/>
              </a:ext>
            </a:extLst>
          </p:cNvPr>
          <p:cNvGrpSpPr>
            <a:grpSpLocks noChangeAspect="1"/>
          </p:cNvGrpSpPr>
          <p:nvPr/>
        </p:nvGrpSpPr>
        <p:grpSpPr>
          <a:xfrm>
            <a:off x="335280" y="0"/>
            <a:ext cx="2286430" cy="6858000"/>
            <a:chOff x="5238750" y="409575"/>
            <a:chExt cx="1714500" cy="5142547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45963C2-1EC4-4E2D-B75E-6A546BA39706}"/>
                </a:ext>
              </a:extLst>
            </p:cNvPr>
            <p:cNvSpPr/>
            <p:nvPr/>
          </p:nvSpPr>
          <p:spPr>
            <a:xfrm>
              <a:off x="5238750" y="410527"/>
              <a:ext cx="190500" cy="4507230"/>
            </a:xfrm>
            <a:custGeom>
              <a:avLst/>
              <a:gdLst>
                <a:gd name="connsiteX0" fmla="*/ 0 w 190500"/>
                <a:gd name="connsiteY0" fmla="*/ 0 h 4507230"/>
                <a:gd name="connsiteX1" fmla="*/ 190500 w 190500"/>
                <a:gd name="connsiteY1" fmla="*/ 0 h 4507230"/>
                <a:gd name="connsiteX2" fmla="*/ 190500 w 190500"/>
                <a:gd name="connsiteY2" fmla="*/ 4507230 h 4507230"/>
                <a:gd name="connsiteX3" fmla="*/ 0 w 190500"/>
                <a:gd name="connsiteY3" fmla="*/ 4507230 h 4507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4507230">
                  <a:moveTo>
                    <a:pt x="0" y="0"/>
                  </a:moveTo>
                  <a:lnTo>
                    <a:pt x="190500" y="0"/>
                  </a:lnTo>
                  <a:lnTo>
                    <a:pt x="190500" y="4507230"/>
                  </a:lnTo>
                  <a:lnTo>
                    <a:pt x="0" y="4507230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84C0229-DA67-47A9-BA7A-97AB3FAED288}"/>
                </a:ext>
              </a:extLst>
            </p:cNvPr>
            <p:cNvSpPr/>
            <p:nvPr/>
          </p:nvSpPr>
          <p:spPr>
            <a:xfrm>
              <a:off x="5619750" y="409575"/>
              <a:ext cx="190500" cy="5141595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808164D-01AB-4096-8422-767E7658E3BD}"/>
                </a:ext>
              </a:extLst>
            </p:cNvPr>
            <p:cNvSpPr/>
            <p:nvPr/>
          </p:nvSpPr>
          <p:spPr>
            <a:xfrm>
              <a:off x="6000750" y="410527"/>
              <a:ext cx="190500" cy="5141595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F8088A8-1325-4B25-BB22-E64A88DB3072}"/>
                </a:ext>
              </a:extLst>
            </p:cNvPr>
            <p:cNvSpPr/>
            <p:nvPr/>
          </p:nvSpPr>
          <p:spPr>
            <a:xfrm>
              <a:off x="6381750" y="410527"/>
              <a:ext cx="190500" cy="5141595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C4AB042-B90E-4B77-9862-8671275DF8D8}"/>
                </a:ext>
              </a:extLst>
            </p:cNvPr>
            <p:cNvSpPr/>
            <p:nvPr/>
          </p:nvSpPr>
          <p:spPr>
            <a:xfrm>
              <a:off x="6762750" y="410527"/>
              <a:ext cx="190500" cy="4507230"/>
            </a:xfrm>
            <a:custGeom>
              <a:avLst/>
              <a:gdLst>
                <a:gd name="connsiteX0" fmla="*/ 0 w 190500"/>
                <a:gd name="connsiteY0" fmla="*/ 0 h 4507230"/>
                <a:gd name="connsiteX1" fmla="*/ 190500 w 190500"/>
                <a:gd name="connsiteY1" fmla="*/ 0 h 4507230"/>
                <a:gd name="connsiteX2" fmla="*/ 190500 w 190500"/>
                <a:gd name="connsiteY2" fmla="*/ 4507230 h 4507230"/>
                <a:gd name="connsiteX3" fmla="*/ 0 w 190500"/>
                <a:gd name="connsiteY3" fmla="*/ 4507230 h 4507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4507230">
                  <a:moveTo>
                    <a:pt x="0" y="0"/>
                  </a:moveTo>
                  <a:lnTo>
                    <a:pt x="190500" y="0"/>
                  </a:lnTo>
                  <a:lnTo>
                    <a:pt x="190500" y="4507230"/>
                  </a:lnTo>
                  <a:lnTo>
                    <a:pt x="0" y="4507230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5C924AC-3033-4505-8283-CCF2557C0F0A}"/>
                </a:ext>
              </a:extLst>
            </p:cNvPr>
            <p:cNvSpPr/>
            <p:nvPr/>
          </p:nvSpPr>
          <p:spPr>
            <a:xfrm>
              <a:off x="5238750" y="4918710"/>
              <a:ext cx="1714500" cy="632461"/>
            </a:xfrm>
            <a:custGeom>
              <a:avLst/>
              <a:gdLst>
                <a:gd name="connsiteX0" fmla="*/ 0 w 1714500"/>
                <a:gd name="connsiteY0" fmla="*/ 0 h 632461"/>
                <a:gd name="connsiteX1" fmla="*/ 206693 w 1714500"/>
                <a:gd name="connsiteY1" fmla="*/ 0 h 632461"/>
                <a:gd name="connsiteX2" fmla="*/ 857250 w 1714500"/>
                <a:gd name="connsiteY2" fmla="*/ 485775 h 632461"/>
                <a:gd name="connsiteX3" fmla="*/ 1507808 w 1714500"/>
                <a:gd name="connsiteY3" fmla="*/ 0 h 632461"/>
                <a:gd name="connsiteX4" fmla="*/ 1714500 w 1714500"/>
                <a:gd name="connsiteY4" fmla="*/ 0 h 632461"/>
                <a:gd name="connsiteX5" fmla="*/ 1617107 w 1714500"/>
                <a:gd name="connsiteY5" fmla="*/ 583168 h 632461"/>
                <a:gd name="connsiteX6" fmla="*/ 1607596 w 1714500"/>
                <a:gd name="connsiteY6" fmla="*/ 632461 h 632461"/>
                <a:gd name="connsiteX7" fmla="*/ 106200 w 1714500"/>
                <a:gd name="connsiteY7" fmla="*/ 632461 h 632461"/>
                <a:gd name="connsiteX8" fmla="*/ 96679 w 1714500"/>
                <a:gd name="connsiteY8" fmla="*/ 583168 h 632461"/>
                <a:gd name="connsiteX9" fmla="*/ 0 w 1714500"/>
                <a:gd name="connsiteY9" fmla="*/ 0 h 632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14500" h="632461">
                  <a:moveTo>
                    <a:pt x="0" y="0"/>
                  </a:moveTo>
                  <a:lnTo>
                    <a:pt x="206693" y="0"/>
                  </a:lnTo>
                  <a:cubicBezTo>
                    <a:pt x="243840" y="98108"/>
                    <a:pt x="418148" y="485775"/>
                    <a:pt x="857250" y="485775"/>
                  </a:cubicBezTo>
                  <a:cubicBezTo>
                    <a:pt x="1296353" y="485775"/>
                    <a:pt x="1470660" y="98108"/>
                    <a:pt x="1507808" y="0"/>
                  </a:cubicBezTo>
                  <a:lnTo>
                    <a:pt x="1714500" y="0"/>
                  </a:lnTo>
                  <a:cubicBezTo>
                    <a:pt x="1702594" y="79057"/>
                    <a:pt x="1668066" y="307896"/>
                    <a:pt x="1617107" y="583168"/>
                  </a:cubicBezTo>
                  <a:lnTo>
                    <a:pt x="1607596" y="632461"/>
                  </a:lnTo>
                  <a:lnTo>
                    <a:pt x="106200" y="632461"/>
                  </a:lnTo>
                  <a:lnTo>
                    <a:pt x="96679" y="583168"/>
                  </a:lnTo>
                  <a:cubicBezTo>
                    <a:pt x="45720" y="307896"/>
                    <a:pt x="11430" y="79057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85898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228600"/>
            <a:ext cx="11521439" cy="6400800"/>
          </a:xfrm>
        </p:spPr>
        <p:txBody>
          <a:bodyPr lIns="91440" r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5ABB8FC-068B-454D-9279-EEDCA4E00E56}"/>
              </a:ext>
            </a:extLst>
          </p:cNvPr>
          <p:cNvGrpSpPr/>
          <p:nvPr/>
        </p:nvGrpSpPr>
        <p:grpSpPr>
          <a:xfrm>
            <a:off x="1" y="4754880"/>
            <a:ext cx="12191999" cy="1600200"/>
            <a:chOff x="1" y="4434840"/>
            <a:chExt cx="12191999" cy="1600200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C82FD6D-9BB1-4612-8DD8-CAF4D5414568}"/>
                </a:ext>
              </a:extLst>
            </p:cNvPr>
            <p:cNvSpPr/>
            <p:nvPr/>
          </p:nvSpPr>
          <p:spPr>
            <a:xfrm rot="16200000">
              <a:off x="6005973" y="-504332"/>
              <a:ext cx="177800" cy="12189743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12B5A68-8EF0-4C7A-BB81-09E4A111F215}"/>
                </a:ext>
              </a:extLst>
            </p:cNvPr>
            <p:cNvSpPr/>
            <p:nvPr/>
          </p:nvSpPr>
          <p:spPr>
            <a:xfrm rot="16200000">
              <a:off x="6008229" y="-859932"/>
              <a:ext cx="177800" cy="12189743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B76E9FD-333B-466B-B295-21DA9ACF7BE7}"/>
                </a:ext>
              </a:extLst>
            </p:cNvPr>
            <p:cNvSpPr/>
            <p:nvPr/>
          </p:nvSpPr>
          <p:spPr>
            <a:xfrm rot="16200000">
              <a:off x="6008229" y="-1215532"/>
              <a:ext cx="177800" cy="12189743"/>
            </a:xfrm>
            <a:custGeom>
              <a:avLst/>
              <a:gdLst>
                <a:gd name="connsiteX0" fmla="*/ 0 w 190500"/>
                <a:gd name="connsiteY0" fmla="*/ 0 h 5141595"/>
                <a:gd name="connsiteX1" fmla="*/ 190500 w 190500"/>
                <a:gd name="connsiteY1" fmla="*/ 0 h 5141595"/>
                <a:gd name="connsiteX2" fmla="*/ 190500 w 190500"/>
                <a:gd name="connsiteY2" fmla="*/ 5141595 h 5141595"/>
                <a:gd name="connsiteX3" fmla="*/ 0 w 190500"/>
                <a:gd name="connsiteY3" fmla="*/ 5141595 h 514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5141595">
                  <a:moveTo>
                    <a:pt x="0" y="0"/>
                  </a:moveTo>
                  <a:lnTo>
                    <a:pt x="190500" y="0"/>
                  </a:lnTo>
                  <a:lnTo>
                    <a:pt x="190500" y="5141595"/>
                  </a:lnTo>
                  <a:lnTo>
                    <a:pt x="0" y="5141595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1045688-A1C0-480A-9010-2510EC13EDC5}"/>
                </a:ext>
              </a:extLst>
            </p:cNvPr>
            <p:cNvSpPr/>
            <p:nvPr/>
          </p:nvSpPr>
          <p:spPr>
            <a:xfrm rot="16200000">
              <a:off x="5711953" y="147543"/>
              <a:ext cx="177800" cy="11597193"/>
            </a:xfrm>
            <a:custGeom>
              <a:avLst/>
              <a:gdLst>
                <a:gd name="connsiteX0" fmla="*/ 0 w 190500"/>
                <a:gd name="connsiteY0" fmla="*/ 0 h 4507230"/>
                <a:gd name="connsiteX1" fmla="*/ 190500 w 190500"/>
                <a:gd name="connsiteY1" fmla="*/ 0 h 4507230"/>
                <a:gd name="connsiteX2" fmla="*/ 190500 w 190500"/>
                <a:gd name="connsiteY2" fmla="*/ 4507230 h 4507230"/>
                <a:gd name="connsiteX3" fmla="*/ 0 w 190500"/>
                <a:gd name="connsiteY3" fmla="*/ 4507230 h 4507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4507230">
                  <a:moveTo>
                    <a:pt x="0" y="0"/>
                  </a:moveTo>
                  <a:lnTo>
                    <a:pt x="190500" y="0"/>
                  </a:lnTo>
                  <a:lnTo>
                    <a:pt x="190500" y="4507230"/>
                  </a:lnTo>
                  <a:lnTo>
                    <a:pt x="0" y="4507230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3D596E4-0307-4E52-955E-5219321EC1D3}"/>
                </a:ext>
              </a:extLst>
            </p:cNvPr>
            <p:cNvSpPr/>
            <p:nvPr/>
          </p:nvSpPr>
          <p:spPr>
            <a:xfrm rot="16200000">
              <a:off x="5711953" y="-1274857"/>
              <a:ext cx="177800" cy="11597193"/>
            </a:xfrm>
            <a:custGeom>
              <a:avLst/>
              <a:gdLst>
                <a:gd name="connsiteX0" fmla="*/ 0 w 190500"/>
                <a:gd name="connsiteY0" fmla="*/ 0 h 4507230"/>
                <a:gd name="connsiteX1" fmla="*/ 190500 w 190500"/>
                <a:gd name="connsiteY1" fmla="*/ 0 h 4507230"/>
                <a:gd name="connsiteX2" fmla="*/ 190500 w 190500"/>
                <a:gd name="connsiteY2" fmla="*/ 4507230 h 4507230"/>
                <a:gd name="connsiteX3" fmla="*/ 0 w 190500"/>
                <a:gd name="connsiteY3" fmla="*/ 4507230 h 4507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4507230">
                  <a:moveTo>
                    <a:pt x="0" y="0"/>
                  </a:moveTo>
                  <a:lnTo>
                    <a:pt x="190500" y="0"/>
                  </a:lnTo>
                  <a:lnTo>
                    <a:pt x="190500" y="4507230"/>
                  </a:lnTo>
                  <a:lnTo>
                    <a:pt x="0" y="4507230"/>
                  </a:lnTo>
                  <a:close/>
                </a:path>
              </a:pathLst>
            </a:custGeom>
            <a:solidFill>
              <a:srgbClr val="FFB8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10CF1A0-CD05-48CA-9136-69F8EB2488E9}"/>
                </a:ext>
              </a:extLst>
            </p:cNvPr>
            <p:cNvSpPr/>
            <p:nvPr/>
          </p:nvSpPr>
          <p:spPr>
            <a:xfrm rot="16200000">
              <a:off x="11095865" y="4939792"/>
              <a:ext cx="1600200" cy="590295"/>
            </a:xfrm>
            <a:custGeom>
              <a:avLst/>
              <a:gdLst>
                <a:gd name="connsiteX0" fmla="*/ 0 w 1714500"/>
                <a:gd name="connsiteY0" fmla="*/ 0 h 632461"/>
                <a:gd name="connsiteX1" fmla="*/ 206693 w 1714500"/>
                <a:gd name="connsiteY1" fmla="*/ 0 h 632461"/>
                <a:gd name="connsiteX2" fmla="*/ 857250 w 1714500"/>
                <a:gd name="connsiteY2" fmla="*/ 485775 h 632461"/>
                <a:gd name="connsiteX3" fmla="*/ 1507808 w 1714500"/>
                <a:gd name="connsiteY3" fmla="*/ 0 h 632461"/>
                <a:gd name="connsiteX4" fmla="*/ 1714500 w 1714500"/>
                <a:gd name="connsiteY4" fmla="*/ 0 h 632461"/>
                <a:gd name="connsiteX5" fmla="*/ 1617107 w 1714500"/>
                <a:gd name="connsiteY5" fmla="*/ 583168 h 632461"/>
                <a:gd name="connsiteX6" fmla="*/ 1607596 w 1714500"/>
                <a:gd name="connsiteY6" fmla="*/ 632461 h 632461"/>
                <a:gd name="connsiteX7" fmla="*/ 106200 w 1714500"/>
                <a:gd name="connsiteY7" fmla="*/ 632461 h 632461"/>
                <a:gd name="connsiteX8" fmla="*/ 96679 w 1714500"/>
                <a:gd name="connsiteY8" fmla="*/ 583168 h 632461"/>
                <a:gd name="connsiteX9" fmla="*/ 0 w 1714500"/>
                <a:gd name="connsiteY9" fmla="*/ 0 h 632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14500" h="632461">
                  <a:moveTo>
                    <a:pt x="0" y="0"/>
                  </a:moveTo>
                  <a:lnTo>
                    <a:pt x="206693" y="0"/>
                  </a:lnTo>
                  <a:cubicBezTo>
                    <a:pt x="243840" y="98108"/>
                    <a:pt x="418148" y="485775"/>
                    <a:pt x="857250" y="485775"/>
                  </a:cubicBezTo>
                  <a:cubicBezTo>
                    <a:pt x="1296353" y="485775"/>
                    <a:pt x="1470660" y="98108"/>
                    <a:pt x="1507808" y="0"/>
                  </a:cubicBezTo>
                  <a:lnTo>
                    <a:pt x="1714500" y="0"/>
                  </a:lnTo>
                  <a:cubicBezTo>
                    <a:pt x="1702594" y="79057"/>
                    <a:pt x="1668066" y="307896"/>
                    <a:pt x="1617107" y="583168"/>
                  </a:cubicBezTo>
                  <a:lnTo>
                    <a:pt x="1607596" y="632461"/>
                  </a:lnTo>
                  <a:lnTo>
                    <a:pt x="106200" y="632461"/>
                  </a:lnTo>
                  <a:lnTo>
                    <a:pt x="96679" y="583168"/>
                  </a:lnTo>
                  <a:cubicBezTo>
                    <a:pt x="45720" y="307896"/>
                    <a:pt x="11430" y="79057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23940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2645E44C-BC01-4C20-BC03-C07046E16E25}"/>
              </a:ext>
            </a:extLst>
          </p:cNvPr>
          <p:cNvSpPr/>
          <p:nvPr/>
        </p:nvSpPr>
        <p:spPr>
          <a:xfrm flipV="1">
            <a:off x="6094196" y="228600"/>
            <a:ext cx="6097804" cy="6629400"/>
          </a:xfrm>
          <a:custGeom>
            <a:avLst/>
            <a:gdLst>
              <a:gd name="connsiteX0" fmla="*/ 2439 w 6097804"/>
              <a:gd name="connsiteY0" fmla="*/ 6629400 h 6629400"/>
              <a:gd name="connsiteX1" fmla="*/ 307303 w 6097804"/>
              <a:gd name="connsiteY1" fmla="*/ 6332812 h 6629400"/>
              <a:gd name="connsiteX2" fmla="*/ 612167 w 6097804"/>
              <a:gd name="connsiteY2" fmla="*/ 6629400 h 6629400"/>
              <a:gd name="connsiteX3" fmla="*/ 917030 w 6097804"/>
              <a:gd name="connsiteY3" fmla="*/ 6332812 h 6629400"/>
              <a:gd name="connsiteX4" fmla="*/ 1221894 w 6097804"/>
              <a:gd name="connsiteY4" fmla="*/ 6629400 h 6629400"/>
              <a:gd name="connsiteX5" fmla="*/ 1526757 w 6097804"/>
              <a:gd name="connsiteY5" fmla="*/ 6332812 h 6629400"/>
              <a:gd name="connsiteX6" fmla="*/ 1831621 w 6097804"/>
              <a:gd name="connsiteY6" fmla="*/ 6629400 h 6629400"/>
              <a:gd name="connsiteX7" fmla="*/ 2136484 w 6097804"/>
              <a:gd name="connsiteY7" fmla="*/ 6332812 h 6629400"/>
              <a:gd name="connsiteX8" fmla="*/ 2441348 w 6097804"/>
              <a:gd name="connsiteY8" fmla="*/ 6629400 h 6629400"/>
              <a:gd name="connsiteX9" fmla="*/ 2746212 w 6097804"/>
              <a:gd name="connsiteY9" fmla="*/ 6332812 h 6629400"/>
              <a:gd name="connsiteX10" fmla="*/ 3051074 w 6097804"/>
              <a:gd name="connsiteY10" fmla="*/ 6629400 h 6629400"/>
              <a:gd name="connsiteX11" fmla="*/ 3355938 w 6097804"/>
              <a:gd name="connsiteY11" fmla="*/ 6332812 h 6629400"/>
              <a:gd name="connsiteX12" fmla="*/ 3660802 w 6097804"/>
              <a:gd name="connsiteY12" fmla="*/ 6629400 h 6629400"/>
              <a:gd name="connsiteX13" fmla="*/ 3965665 w 6097804"/>
              <a:gd name="connsiteY13" fmla="*/ 6332812 h 6629400"/>
              <a:gd name="connsiteX14" fmla="*/ 4270529 w 6097804"/>
              <a:gd name="connsiteY14" fmla="*/ 6629400 h 6629400"/>
              <a:gd name="connsiteX15" fmla="*/ 4575392 w 6097804"/>
              <a:gd name="connsiteY15" fmla="*/ 6332812 h 6629400"/>
              <a:gd name="connsiteX16" fmla="*/ 4880256 w 6097804"/>
              <a:gd name="connsiteY16" fmla="*/ 6629400 h 6629400"/>
              <a:gd name="connsiteX17" fmla="*/ 5185120 w 6097804"/>
              <a:gd name="connsiteY17" fmla="*/ 6332812 h 6629400"/>
              <a:gd name="connsiteX18" fmla="*/ 5489983 w 6097804"/>
              <a:gd name="connsiteY18" fmla="*/ 6629400 h 6629400"/>
              <a:gd name="connsiteX19" fmla="*/ 5794847 w 6097804"/>
              <a:gd name="connsiteY19" fmla="*/ 6332812 h 6629400"/>
              <a:gd name="connsiteX20" fmla="*/ 6097804 w 6097804"/>
              <a:gd name="connsiteY20" fmla="*/ 6627487 h 6629400"/>
              <a:gd name="connsiteX21" fmla="*/ 6097804 w 6097804"/>
              <a:gd name="connsiteY21" fmla="*/ 1463040 h 6629400"/>
              <a:gd name="connsiteX22" fmla="*/ 6097804 w 6097804"/>
              <a:gd name="connsiteY22" fmla="*/ 0 h 6629400"/>
              <a:gd name="connsiteX23" fmla="*/ 1804 w 6097804"/>
              <a:gd name="connsiteY23" fmla="*/ 0 h 6629400"/>
              <a:gd name="connsiteX24" fmla="*/ 1804 w 6097804"/>
              <a:gd name="connsiteY24" fmla="*/ 1463040 h 6629400"/>
              <a:gd name="connsiteX25" fmla="*/ 0 w 6097804"/>
              <a:gd name="connsiteY25" fmla="*/ 1463040 h 6629400"/>
              <a:gd name="connsiteX26" fmla="*/ 0 w 6097804"/>
              <a:gd name="connsiteY26" fmla="*/ 6627027 h 662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097804" h="6629400">
                <a:moveTo>
                  <a:pt x="2439" y="6629400"/>
                </a:moveTo>
                <a:lnTo>
                  <a:pt x="307303" y="6332812"/>
                </a:lnTo>
                <a:lnTo>
                  <a:pt x="612167" y="6629400"/>
                </a:lnTo>
                <a:lnTo>
                  <a:pt x="917030" y="6332812"/>
                </a:lnTo>
                <a:lnTo>
                  <a:pt x="1221894" y="6629400"/>
                </a:lnTo>
                <a:lnTo>
                  <a:pt x="1526757" y="6332812"/>
                </a:lnTo>
                <a:lnTo>
                  <a:pt x="1831621" y="6629400"/>
                </a:lnTo>
                <a:lnTo>
                  <a:pt x="2136484" y="6332812"/>
                </a:lnTo>
                <a:lnTo>
                  <a:pt x="2441348" y="6629400"/>
                </a:lnTo>
                <a:lnTo>
                  <a:pt x="2746212" y="6332812"/>
                </a:lnTo>
                <a:lnTo>
                  <a:pt x="3051074" y="6629400"/>
                </a:lnTo>
                <a:lnTo>
                  <a:pt x="3355938" y="6332812"/>
                </a:lnTo>
                <a:lnTo>
                  <a:pt x="3660802" y="6629400"/>
                </a:lnTo>
                <a:lnTo>
                  <a:pt x="3965665" y="6332812"/>
                </a:lnTo>
                <a:lnTo>
                  <a:pt x="4270529" y="6629400"/>
                </a:lnTo>
                <a:lnTo>
                  <a:pt x="4575392" y="6332812"/>
                </a:lnTo>
                <a:lnTo>
                  <a:pt x="4880256" y="6629400"/>
                </a:lnTo>
                <a:lnTo>
                  <a:pt x="5185120" y="6332812"/>
                </a:lnTo>
                <a:lnTo>
                  <a:pt x="5489983" y="6629400"/>
                </a:lnTo>
                <a:lnTo>
                  <a:pt x="5794847" y="6332812"/>
                </a:lnTo>
                <a:lnTo>
                  <a:pt x="6097804" y="6627487"/>
                </a:lnTo>
                <a:lnTo>
                  <a:pt x="6097804" y="1463040"/>
                </a:lnTo>
                <a:lnTo>
                  <a:pt x="6097804" y="0"/>
                </a:lnTo>
                <a:lnTo>
                  <a:pt x="1804" y="0"/>
                </a:lnTo>
                <a:lnTo>
                  <a:pt x="1804" y="1463040"/>
                </a:lnTo>
                <a:lnTo>
                  <a:pt x="0" y="1463040"/>
                </a:lnTo>
                <a:lnTo>
                  <a:pt x="0" y="662702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5486400" cy="6400799"/>
          </a:xfrm>
        </p:spPr>
        <p:txBody>
          <a:bodyPr anchor="ctr" anchorCtr="1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64E614CC-7161-451C-B27F-99D746FC8F2F}"/>
              </a:ext>
            </a:extLst>
          </p:cNvPr>
          <p:cNvSpPr>
            <a:spLocks/>
          </p:cNvSpPr>
          <p:nvPr/>
        </p:nvSpPr>
        <p:spPr>
          <a:xfrm>
            <a:off x="6092672" y="6263640"/>
            <a:ext cx="6097804" cy="59436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438DE18-F374-442B-82ED-D998FAF4289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34" t="1" r="34344" b="25889"/>
          <a:stretch/>
        </p:blipFill>
        <p:spPr>
          <a:xfrm>
            <a:off x="6964681" y="2148840"/>
            <a:ext cx="5227320" cy="47091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78989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aphic 3">
            <a:extLst>
              <a:ext uri="{FF2B5EF4-FFF2-40B4-BE49-F238E27FC236}">
                <a16:creationId xmlns:a16="http://schemas.microsoft.com/office/drawing/2014/main" id="{0A1FDE5F-F5CC-4845-944B-48A25DC07EF0}"/>
              </a:ext>
            </a:extLst>
          </p:cNvPr>
          <p:cNvSpPr>
            <a:spLocks/>
          </p:cNvSpPr>
          <p:nvPr/>
        </p:nvSpPr>
        <p:spPr>
          <a:xfrm>
            <a:off x="0" y="5212080"/>
            <a:ext cx="12188952" cy="164592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5486400" cy="6400799"/>
          </a:xfrm>
        </p:spPr>
        <p:txBody>
          <a:bodyPr anchor="ctr" anchorCtr="1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5599F8E-9667-459C-A7EF-093C0C24B0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80698" y="0"/>
            <a:ext cx="3921752" cy="65277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53064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0E383472-5454-443F-B162-B33D709117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228600"/>
            <a:ext cx="11521439" cy="6400800"/>
          </a:xfrm>
        </p:spPr>
        <p:txBody>
          <a:bodyPr lIns="91440" r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4917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phic 3">
            <a:extLst>
              <a:ext uri="{FF2B5EF4-FFF2-40B4-BE49-F238E27FC236}">
                <a16:creationId xmlns:a16="http://schemas.microsoft.com/office/drawing/2014/main" id="{9F6F5170-03E0-4F11-AD88-551021EC7DEF}"/>
              </a:ext>
            </a:extLst>
          </p:cNvPr>
          <p:cNvSpPr>
            <a:spLocks/>
          </p:cNvSpPr>
          <p:nvPr/>
        </p:nvSpPr>
        <p:spPr>
          <a:xfrm>
            <a:off x="6096000" y="0"/>
            <a:ext cx="6094476" cy="685800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5486400" cy="6400799"/>
          </a:xfrm>
        </p:spPr>
        <p:txBody>
          <a:bodyPr anchor="ctr" anchorCtr="1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BDF2A30-DAEF-4E68-9D46-A16C728E722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74533" b="57798"/>
          <a:stretch/>
        </p:blipFill>
        <p:spPr>
          <a:xfrm>
            <a:off x="7700220" y="914400"/>
            <a:ext cx="4491780" cy="5943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95541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s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5486400" cy="6400799"/>
          </a:xfrm>
        </p:spPr>
        <p:txBody>
          <a:bodyPr anchor="ctr" anchorCtr="1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67434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Halfs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228600"/>
            <a:ext cx="5486400" cy="3200400"/>
          </a:xfrm>
        </p:spPr>
        <p:txBody>
          <a:bodyPr lIns="91440" rIns="91440" anchor="b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280" y="3429000"/>
            <a:ext cx="5486400" cy="3200400"/>
          </a:xfrm>
        </p:spPr>
        <p:txBody>
          <a:bodyPr lIns="137160" tIns="182880" rIns="137160" bIns="182880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46825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0B4D03-7691-4843-8ADC-98DB675CE0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3B22C15-7EC6-4021-AD3F-B561260F355A}"/>
              </a:ext>
            </a:extLst>
          </p:cNvPr>
          <p:cNvSpPr/>
          <p:nvPr/>
        </p:nvSpPr>
        <p:spPr>
          <a:xfrm flipH="1">
            <a:off x="0" y="6362624"/>
            <a:ext cx="11507877" cy="495376"/>
          </a:xfrm>
          <a:custGeom>
            <a:avLst/>
            <a:gdLst>
              <a:gd name="connsiteX0" fmla="*/ 11507877 w 11507877"/>
              <a:gd name="connsiteY0" fmla="*/ 0 h 495376"/>
              <a:gd name="connsiteX1" fmla="*/ 0 w 11507877"/>
              <a:gd name="connsiteY1" fmla="*/ 0 h 495376"/>
              <a:gd name="connsiteX2" fmla="*/ 495376 w 11507877"/>
              <a:gd name="connsiteY2" fmla="*/ 495376 h 495376"/>
              <a:gd name="connsiteX3" fmla="*/ 11507877 w 11507877"/>
              <a:gd name="connsiteY3" fmla="*/ 495376 h 495376"/>
              <a:gd name="connsiteX4" fmla="*/ 11507877 w 11507877"/>
              <a:gd name="connsiteY4" fmla="*/ 0 h 49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7877" h="495376">
                <a:moveTo>
                  <a:pt x="11507877" y="0"/>
                </a:moveTo>
                <a:lnTo>
                  <a:pt x="0" y="0"/>
                </a:lnTo>
                <a:cubicBezTo>
                  <a:pt x="0" y="274091"/>
                  <a:pt x="221285" y="495376"/>
                  <a:pt x="495376" y="495376"/>
                </a:cubicBezTo>
                <a:lnTo>
                  <a:pt x="11507877" y="495376"/>
                </a:lnTo>
                <a:lnTo>
                  <a:pt x="11507877" y="0"/>
                </a:lnTo>
                <a:close/>
              </a:path>
            </a:pathLst>
          </a:custGeom>
          <a:solidFill>
            <a:schemeClr val="accent1"/>
          </a:solidFill>
          <a:ln w="2513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3334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52C1C68-0BE4-4BD4-B4AB-0C9493C17F8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2" y="1235075"/>
            <a:ext cx="5486400" cy="5119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97414ACF-E6E1-45E5-8EE2-D495C7FC11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70320" y="1235075"/>
            <a:ext cx="5486400" cy="5119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1D42FBD-6323-4A31-AF80-88838F4246B6}"/>
              </a:ext>
            </a:extLst>
          </p:cNvPr>
          <p:cNvSpPr/>
          <p:nvPr/>
        </p:nvSpPr>
        <p:spPr>
          <a:xfrm flipH="1">
            <a:off x="0" y="6362624"/>
            <a:ext cx="11507877" cy="495376"/>
          </a:xfrm>
          <a:custGeom>
            <a:avLst/>
            <a:gdLst>
              <a:gd name="connsiteX0" fmla="*/ 11507877 w 11507877"/>
              <a:gd name="connsiteY0" fmla="*/ 0 h 495376"/>
              <a:gd name="connsiteX1" fmla="*/ 0 w 11507877"/>
              <a:gd name="connsiteY1" fmla="*/ 0 h 495376"/>
              <a:gd name="connsiteX2" fmla="*/ 495376 w 11507877"/>
              <a:gd name="connsiteY2" fmla="*/ 495376 h 495376"/>
              <a:gd name="connsiteX3" fmla="*/ 11507877 w 11507877"/>
              <a:gd name="connsiteY3" fmla="*/ 495376 h 495376"/>
              <a:gd name="connsiteX4" fmla="*/ 11507877 w 11507877"/>
              <a:gd name="connsiteY4" fmla="*/ 0 h 49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7877" h="495376">
                <a:moveTo>
                  <a:pt x="11507877" y="0"/>
                </a:moveTo>
                <a:lnTo>
                  <a:pt x="0" y="0"/>
                </a:lnTo>
                <a:cubicBezTo>
                  <a:pt x="0" y="274091"/>
                  <a:pt x="221285" y="495376"/>
                  <a:pt x="495376" y="495376"/>
                </a:cubicBezTo>
                <a:lnTo>
                  <a:pt x="11507877" y="495376"/>
                </a:lnTo>
                <a:lnTo>
                  <a:pt x="11507877" y="0"/>
                </a:lnTo>
                <a:close/>
              </a:path>
            </a:pathLst>
          </a:custGeom>
          <a:solidFill>
            <a:schemeClr val="accent1"/>
          </a:solidFill>
          <a:ln w="2513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34745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5B21A2B-35BD-410F-9AAB-71DFDFC64FE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2" y="1235075"/>
            <a:ext cx="3657600" cy="5119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E1FDE994-B156-4570-A031-139DD055797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267200" y="1235075"/>
            <a:ext cx="3657600" cy="5119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92B91E1A-CCE9-4D10-A61F-184C0847C69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199120" y="1235075"/>
            <a:ext cx="3657600" cy="5119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3360295B-F6FA-4FAF-814B-9BFEFD489A84}"/>
              </a:ext>
            </a:extLst>
          </p:cNvPr>
          <p:cNvSpPr/>
          <p:nvPr/>
        </p:nvSpPr>
        <p:spPr>
          <a:xfrm flipH="1">
            <a:off x="0" y="6362624"/>
            <a:ext cx="11507877" cy="495376"/>
          </a:xfrm>
          <a:custGeom>
            <a:avLst/>
            <a:gdLst>
              <a:gd name="connsiteX0" fmla="*/ 11507877 w 11507877"/>
              <a:gd name="connsiteY0" fmla="*/ 0 h 495376"/>
              <a:gd name="connsiteX1" fmla="*/ 0 w 11507877"/>
              <a:gd name="connsiteY1" fmla="*/ 0 h 495376"/>
              <a:gd name="connsiteX2" fmla="*/ 495376 w 11507877"/>
              <a:gd name="connsiteY2" fmla="*/ 495376 h 495376"/>
              <a:gd name="connsiteX3" fmla="*/ 11507877 w 11507877"/>
              <a:gd name="connsiteY3" fmla="*/ 495376 h 495376"/>
              <a:gd name="connsiteX4" fmla="*/ 11507877 w 11507877"/>
              <a:gd name="connsiteY4" fmla="*/ 0 h 49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7877" h="495376">
                <a:moveTo>
                  <a:pt x="11507877" y="0"/>
                </a:moveTo>
                <a:lnTo>
                  <a:pt x="0" y="0"/>
                </a:lnTo>
                <a:cubicBezTo>
                  <a:pt x="0" y="274091"/>
                  <a:pt x="221285" y="495376"/>
                  <a:pt x="495376" y="495376"/>
                </a:cubicBezTo>
                <a:lnTo>
                  <a:pt x="11507877" y="495376"/>
                </a:lnTo>
                <a:lnTo>
                  <a:pt x="11507877" y="0"/>
                </a:lnTo>
                <a:close/>
              </a:path>
            </a:pathLst>
          </a:custGeom>
          <a:solidFill>
            <a:schemeClr val="accent1"/>
          </a:solidFill>
          <a:ln w="2513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Graphic 13">
            <a:extLst>
              <a:ext uri="{FF2B5EF4-FFF2-40B4-BE49-F238E27FC236}">
                <a16:creationId xmlns:a16="http://schemas.microsoft.com/office/drawing/2014/main" id="{129DBC58-1033-4F8F-81C4-678D1A47381F}"/>
              </a:ext>
            </a:extLst>
          </p:cNvPr>
          <p:cNvSpPr>
            <a:spLocks noChangeAspect="1"/>
          </p:cNvSpPr>
          <p:nvPr/>
        </p:nvSpPr>
        <p:spPr>
          <a:xfrm>
            <a:off x="10204532" y="6355080"/>
            <a:ext cx="1332148" cy="502920"/>
          </a:xfrm>
          <a:custGeom>
            <a:avLst/>
            <a:gdLst>
              <a:gd name="connsiteX0" fmla="*/ 1342918 w 1343247"/>
              <a:gd name="connsiteY0" fmla="*/ 37719 h 507110"/>
              <a:gd name="connsiteX1" fmla="*/ 1310787 w 1343247"/>
              <a:gd name="connsiteY1" fmla="*/ 0 h 507110"/>
              <a:gd name="connsiteX2" fmla="*/ 705886 w 1343247"/>
              <a:gd name="connsiteY2" fmla="*/ 0 h 507110"/>
              <a:gd name="connsiteX3" fmla="*/ 4592 w 1343247"/>
              <a:gd name="connsiteY3" fmla="*/ 494538 h 507110"/>
              <a:gd name="connsiteX4" fmla="*/ 5989 w 1343247"/>
              <a:gd name="connsiteY4" fmla="*/ 507111 h 507110"/>
              <a:gd name="connsiteX5" fmla="*/ 781324 w 1343247"/>
              <a:gd name="connsiteY5" fmla="*/ 507111 h 507110"/>
              <a:gd name="connsiteX6" fmla="*/ 1342918 w 1343247"/>
              <a:gd name="connsiteY6" fmla="*/ 37719 h 507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3247" h="507110">
                <a:moveTo>
                  <a:pt x="1342918" y="37719"/>
                </a:moveTo>
                <a:cubicBezTo>
                  <a:pt x="1345712" y="18161"/>
                  <a:pt x="1330345" y="0"/>
                  <a:pt x="1310787" y="0"/>
                </a:cubicBezTo>
                <a:lnTo>
                  <a:pt x="705886" y="0"/>
                </a:lnTo>
                <a:cubicBezTo>
                  <a:pt x="229509" y="0"/>
                  <a:pt x="323108" y="409321"/>
                  <a:pt x="4592" y="494538"/>
                </a:cubicBezTo>
                <a:cubicBezTo>
                  <a:pt x="-2393" y="495935"/>
                  <a:pt x="-996" y="507111"/>
                  <a:pt x="5989" y="507111"/>
                </a:cubicBezTo>
                <a:lnTo>
                  <a:pt x="781324" y="507111"/>
                </a:lnTo>
                <a:cubicBezTo>
                  <a:pt x="1024402" y="507111"/>
                  <a:pt x="1301008" y="333883"/>
                  <a:pt x="1342918" y="37719"/>
                </a:cubicBezTo>
                <a:close/>
              </a:path>
            </a:pathLst>
          </a:custGeom>
          <a:solidFill>
            <a:srgbClr val="C8161D"/>
          </a:solidFill>
          <a:ln w="1389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574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52.xml"/><Relationship Id="rId34" Type="http://schemas.openxmlformats.org/officeDocument/2006/relationships/image" Target="../media/image10.emf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tags" Target="../tags/tag35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tags" Target="../tags/tag34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tags" Target="../tags/tag33.xml"/><Relationship Id="rId35" Type="http://schemas.openxmlformats.org/officeDocument/2006/relationships/image" Target="../media/image11.png"/><Relationship Id="rId8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tags" Target="../tags/tag67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tags" Target="../tags/tag66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tags" Target="../tags/tag65.xml"/><Relationship Id="rId28" Type="http://schemas.openxmlformats.org/officeDocument/2006/relationships/image" Target="../media/image11.png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theme" Target="../theme/theme3.xml"/><Relationship Id="rId27" Type="http://schemas.openxmlformats.org/officeDocument/2006/relationships/image" Target="../media/image10.emf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33" Type="http://schemas.openxmlformats.org/officeDocument/2006/relationships/tags" Target="../tags/tag89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29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theme" Target="../theme/theme4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10.xml"/><Relationship Id="rId8" Type="http://schemas.openxmlformats.org/officeDocument/2006/relationships/slideLayout" Target="../slideLayouts/slideLayout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6EA084-203F-4328-9093-8ED05ED87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1"/>
            <a:ext cx="11522075" cy="731520"/>
          </a:xfrm>
          <a:prstGeom prst="rect">
            <a:avLst/>
          </a:prstGeom>
        </p:spPr>
        <p:txBody>
          <a:bodyPr vert="horz" lIns="91440" tIns="91440" rIns="91440" bIns="0" rtlCol="0" anchor="ctr">
            <a:noAutofit/>
          </a:bodyPr>
          <a:lstStyle/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985D98-3239-4503-8D46-06AE345F49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235075"/>
            <a:ext cx="11522075" cy="51196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33"/>
    </p:custDataLst>
    <p:extLst>
      <p:ext uri="{BB962C8B-B14F-4D97-AF65-F5344CB8AC3E}">
        <p14:creationId xmlns:p14="http://schemas.microsoft.com/office/powerpoint/2010/main" val="266212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  <p:sldLayoutId id="2147483778" r:id="rId16"/>
    <p:sldLayoutId id="2147483779" r:id="rId17"/>
    <p:sldLayoutId id="2147483780" r:id="rId18"/>
    <p:sldLayoutId id="2147483781" r:id="rId19"/>
    <p:sldLayoutId id="2147483782" r:id="rId20"/>
    <p:sldLayoutId id="2147483783" r:id="rId21"/>
    <p:sldLayoutId id="2147483784" r:id="rId22"/>
    <p:sldLayoutId id="2147483785" r:id="rId23"/>
    <p:sldLayoutId id="2147483786" r:id="rId24"/>
    <p:sldLayoutId id="2147483787" r:id="rId25"/>
    <p:sldLayoutId id="2147483788" r:id="rId26"/>
    <p:sldLayoutId id="2147483789" r:id="rId27"/>
    <p:sldLayoutId id="2147483790" r:id="rId28"/>
    <p:sldLayoutId id="2147483791" r:id="rId29"/>
    <p:sldLayoutId id="2147483792" r:id="rId30"/>
    <p:sldLayoutId id="2147483793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4625" indent="-174625" algn="l" defTabSz="914400" rtl="0" eaLnBrk="1" latinLnBrk="0" hangingPunct="1">
        <a:lnSpc>
          <a:spcPct val="90000"/>
        </a:lnSpc>
        <a:spcBef>
          <a:spcPts val="20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15938" indent="-231775" algn="l" defTabSz="914400" rtl="0" eaLnBrk="1" latinLnBrk="0" hangingPunct="1">
        <a:lnSpc>
          <a:spcPct val="90000"/>
        </a:lnSpc>
        <a:spcBef>
          <a:spcPts val="300"/>
        </a:spcBef>
        <a:buClr>
          <a:schemeClr val="accent2"/>
        </a:buClr>
        <a:buFont typeface="Speedee" panose="020B06030305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9775" indent="-168275" algn="l" defTabSz="914400" rtl="0" eaLnBrk="1" latinLnBrk="0" hangingPunct="1">
        <a:lnSpc>
          <a:spcPct val="90000"/>
        </a:lnSpc>
        <a:spcBef>
          <a:spcPts val="300"/>
        </a:spcBef>
        <a:buClr>
          <a:schemeClr val="accent2"/>
        </a:buClr>
        <a:buFont typeface="Speedee" panose="020B06030305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73138" indent="-173038" algn="l" defTabSz="914400" rtl="0" eaLnBrk="1" latinLnBrk="0" hangingPunct="1">
        <a:lnSpc>
          <a:spcPct val="90000"/>
        </a:lnSpc>
        <a:spcBef>
          <a:spcPts val="300"/>
        </a:spcBef>
        <a:buClr>
          <a:schemeClr val="accent2"/>
        </a:buClr>
        <a:buFont typeface="Speedee" panose="020B06030305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96975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accent2"/>
        </a:buClr>
        <a:buFont typeface="Speedee" panose="020B06030305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pos="2561">
          <p15:clr>
            <a:srgbClr val="F26B43"/>
          </p15:clr>
        </p15:guide>
        <p15:guide id="5" pos="5119">
          <p15:clr>
            <a:srgbClr val="F26B43"/>
          </p15:clr>
        </p15:guide>
        <p15:guide id="7" orient="horz" pos="144">
          <p15:clr>
            <a:srgbClr val="F26B43"/>
          </p15:clr>
        </p15:guide>
        <p15:guide id="8" orient="horz" pos="4176">
          <p15:clr>
            <a:srgbClr val="F26B43"/>
          </p15:clr>
        </p15:guide>
        <p15:guide id="11" orient="horz" pos="1440">
          <p15:clr>
            <a:srgbClr val="F26B43"/>
          </p15:clr>
        </p15:guide>
        <p15:guide id="12" orient="horz" pos="2880">
          <p15:clr>
            <a:srgbClr val="F26B43"/>
          </p15:clr>
        </p15:guide>
        <p15:guide id="13" orient="horz" pos="21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3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501" imgH="502" progId="TCLayout.ActiveDocument.1">
                  <p:embed/>
                </p:oleObj>
              </mc:Choice>
              <mc:Fallback>
                <p:oleObj name="think-cell Slide" r:id="rId33" imgW="501" imgH="502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2"/>
            </p:custDataLst>
          </p:nvPr>
        </p:nvSpPr>
        <p:spPr>
          <a:xfrm>
            <a:off x="-105323" y="-137607"/>
            <a:ext cx="369397" cy="433965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peedee" panose="020B0603030502020204" pitchFamily="34" charset="0"/>
              <a:ea typeface="+mn-ea"/>
              <a:cs typeface="+mn-cs"/>
              <a:sym typeface="Speedee" panose="020B06030305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D3DD038-D290-4952-9A79-54683E176F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65927"/>
            <a:ext cx="11245850" cy="640080"/>
          </a:xfrm>
          <a:prstGeom prst="rect">
            <a:avLst/>
          </a:prstGeom>
        </p:spPr>
        <p:txBody>
          <a:bodyPr vert="horz" lIns="137160" tIns="13716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997B17-16D6-4643-9FD4-9788B5AB6E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075" y="1280160"/>
            <a:ext cx="11245850" cy="5120640"/>
          </a:xfrm>
          <a:prstGeom prst="rect">
            <a:avLst/>
          </a:prstGeom>
        </p:spPr>
        <p:txBody>
          <a:bodyPr vert="horz" lIns="137160" tIns="91440" rIns="137160" bIns="274320" rtlCol="0" anchor="ctr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2CAB7C-07EB-4115-B93E-E3BAE87D60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7614" y="64870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30"/>
    </p:custDataLst>
    <p:extLst>
      <p:ext uri="{BB962C8B-B14F-4D97-AF65-F5344CB8AC3E}">
        <p14:creationId xmlns:p14="http://schemas.microsoft.com/office/powerpoint/2010/main" val="1730110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  <p:sldLayoutId id="2147483874" r:id="rId14"/>
    <p:sldLayoutId id="2147483875" r:id="rId15"/>
    <p:sldLayoutId id="2147483876" r:id="rId16"/>
    <p:sldLayoutId id="2147483877" r:id="rId17"/>
    <p:sldLayoutId id="2147483878" r:id="rId18"/>
    <p:sldLayoutId id="2147483879" r:id="rId19"/>
    <p:sldLayoutId id="2147483880" r:id="rId20"/>
    <p:sldLayoutId id="2147483881" r:id="rId21"/>
    <p:sldLayoutId id="2147483882" r:id="rId22"/>
    <p:sldLayoutId id="2147483883" r:id="rId23"/>
    <p:sldLayoutId id="2147483884" r:id="rId24"/>
    <p:sldLayoutId id="2147483885" r:id="rId25"/>
    <p:sldLayoutId id="2147483886" r:id="rId26"/>
    <p:sldLayoutId id="2147483887" r:id="rId27"/>
    <p:sldLayoutId id="2147483888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400" rtl="0" eaLnBrk="1" latinLnBrk="0" hangingPunct="1">
        <a:lnSpc>
          <a:spcPct val="90000"/>
        </a:lnSpc>
        <a:spcBef>
          <a:spcPts val="1800"/>
        </a:spcBef>
        <a:buFontTx/>
        <a:buBlip>
          <a:blip r:embed="rId35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5938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73138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01738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298">
          <p15:clr>
            <a:srgbClr val="F26B43"/>
          </p15:clr>
        </p15:guide>
        <p15:guide id="4" pos="7382">
          <p15:clr>
            <a:srgbClr val="F26B43"/>
          </p15:clr>
        </p15:guide>
        <p15:guide id="5" orient="horz" pos="288">
          <p15:clr>
            <a:srgbClr val="F26B43"/>
          </p15:clr>
        </p15:guide>
        <p15:guide id="6" orient="horz" pos="4176">
          <p15:clr>
            <a:srgbClr val="F26B43"/>
          </p15:clr>
        </p15:guide>
        <p15:guide id="7" orient="horz" pos="4032">
          <p15:clr>
            <a:srgbClr val="F26B43"/>
          </p15:clr>
        </p15:guide>
        <p15:guide id="9" pos="3552">
          <p15:clr>
            <a:srgbClr val="F26B43"/>
          </p15:clr>
        </p15:guide>
        <p15:guide id="10" pos="1910">
          <p15:clr>
            <a:srgbClr val="F26B43"/>
          </p15:clr>
        </p15:guide>
        <p15:guide id="11" pos="4128">
          <p15:clr>
            <a:srgbClr val="F26B43"/>
          </p15:clr>
        </p15:guide>
        <p15:guide id="12" pos="407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501" imgH="502" progId="TCLayout.ActiveDocument.1">
                  <p:embed/>
                </p:oleObj>
              </mc:Choice>
              <mc:Fallback>
                <p:oleObj name="think-cell Slide" r:id="rId26" imgW="501" imgH="502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5"/>
            </p:custDataLst>
          </p:nvPr>
        </p:nvSpPr>
        <p:spPr>
          <a:xfrm>
            <a:off x="-105323" y="-137607"/>
            <a:ext cx="369397" cy="433965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peedee" panose="020B0603030502020204" pitchFamily="34" charset="0"/>
              <a:ea typeface="+mn-ea"/>
              <a:cs typeface="+mn-cs"/>
              <a:sym typeface="Speedee" panose="020B06030305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D3DD038-D290-4952-9A79-54683E176F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65927"/>
            <a:ext cx="11245850" cy="640080"/>
          </a:xfrm>
          <a:prstGeom prst="rect">
            <a:avLst/>
          </a:prstGeom>
        </p:spPr>
        <p:txBody>
          <a:bodyPr vert="horz" lIns="137160" tIns="13716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997B17-16D6-4643-9FD4-9788B5AB6E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075" y="1280160"/>
            <a:ext cx="11245850" cy="5120640"/>
          </a:xfrm>
          <a:prstGeom prst="rect">
            <a:avLst/>
          </a:prstGeom>
        </p:spPr>
        <p:txBody>
          <a:bodyPr vert="horz" lIns="137160" tIns="91440" rIns="137160" bIns="274320" rtlCol="0" anchor="ctr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2CAB7C-07EB-4115-B93E-E3BAE87D60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924" y="6487053"/>
            <a:ext cx="254237" cy="142347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 algn="ctr">
              <a:defRPr lang="en-US" sz="1000" smtClean="0"/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7614" y="64870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23"/>
    </p:custDataLst>
    <p:extLst>
      <p:ext uri="{BB962C8B-B14F-4D97-AF65-F5344CB8AC3E}">
        <p14:creationId xmlns:p14="http://schemas.microsoft.com/office/powerpoint/2010/main" val="10186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  <p:sldLayoutId id="2147483899" r:id="rId10"/>
    <p:sldLayoutId id="2147483900" r:id="rId11"/>
    <p:sldLayoutId id="2147483901" r:id="rId12"/>
    <p:sldLayoutId id="2147483902" r:id="rId13"/>
    <p:sldLayoutId id="2147483903" r:id="rId14"/>
    <p:sldLayoutId id="2147483904" r:id="rId15"/>
    <p:sldLayoutId id="2147483905" r:id="rId16"/>
    <p:sldLayoutId id="2147483906" r:id="rId17"/>
    <p:sldLayoutId id="2147483907" r:id="rId18"/>
    <p:sldLayoutId id="2147483908" r:id="rId19"/>
    <p:sldLayoutId id="2147483909" r:id="rId20"/>
    <p:sldLayoutId id="2147483910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400" rtl="0" eaLnBrk="1" latinLnBrk="0" hangingPunct="1">
        <a:lnSpc>
          <a:spcPct val="90000"/>
        </a:lnSpc>
        <a:spcBef>
          <a:spcPts val="1800"/>
        </a:spcBef>
        <a:buFontTx/>
        <a:buBlip>
          <a:blip r:embed="rId28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5938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73138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01738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298">
          <p15:clr>
            <a:srgbClr val="F26B43"/>
          </p15:clr>
        </p15:guide>
        <p15:guide id="4" pos="7382">
          <p15:clr>
            <a:srgbClr val="F26B43"/>
          </p15:clr>
        </p15:guide>
        <p15:guide id="5" orient="horz" pos="288">
          <p15:clr>
            <a:srgbClr val="F26B43"/>
          </p15:clr>
        </p15:guide>
        <p15:guide id="6" orient="horz" pos="4176">
          <p15:clr>
            <a:srgbClr val="F26B43"/>
          </p15:clr>
        </p15:guide>
        <p15:guide id="7" orient="horz" pos="4032">
          <p15:clr>
            <a:srgbClr val="F26B43"/>
          </p15:clr>
        </p15:guide>
        <p15:guide id="9" pos="3552">
          <p15:clr>
            <a:srgbClr val="F26B43"/>
          </p15:clr>
        </p15:guide>
        <p15:guide id="10" pos="1910">
          <p15:clr>
            <a:srgbClr val="F26B43"/>
          </p15:clr>
        </p15:guide>
        <p15:guide id="11" pos="4128">
          <p15:clr>
            <a:srgbClr val="F26B43"/>
          </p15:clr>
        </p15:guide>
        <p15:guide id="12" pos="407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6EA084-203F-4328-9093-8ED05ED87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1"/>
            <a:ext cx="11522075" cy="731520"/>
          </a:xfrm>
          <a:prstGeom prst="rect">
            <a:avLst/>
          </a:prstGeom>
        </p:spPr>
        <p:txBody>
          <a:bodyPr vert="horz" lIns="91440" tIns="91440" rIns="91440" bIns="0" rtlCol="0" anchor="ctr">
            <a:noAutofit/>
          </a:bodyPr>
          <a:lstStyle/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985D98-3239-4503-8D46-06AE345F49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235075"/>
            <a:ext cx="11522075" cy="51196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33"/>
    </p:custDataLst>
    <p:extLst>
      <p:ext uri="{BB962C8B-B14F-4D97-AF65-F5344CB8AC3E}">
        <p14:creationId xmlns:p14="http://schemas.microsoft.com/office/powerpoint/2010/main" val="76573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  <p:sldLayoutId id="2147483925" r:id="rId12"/>
    <p:sldLayoutId id="2147483926" r:id="rId13"/>
    <p:sldLayoutId id="2147483927" r:id="rId14"/>
    <p:sldLayoutId id="2147483928" r:id="rId15"/>
    <p:sldLayoutId id="2147483929" r:id="rId16"/>
    <p:sldLayoutId id="2147483930" r:id="rId17"/>
    <p:sldLayoutId id="2147483931" r:id="rId18"/>
    <p:sldLayoutId id="2147483932" r:id="rId19"/>
    <p:sldLayoutId id="2147483933" r:id="rId20"/>
    <p:sldLayoutId id="2147483934" r:id="rId21"/>
    <p:sldLayoutId id="2147483935" r:id="rId22"/>
    <p:sldLayoutId id="2147483936" r:id="rId23"/>
    <p:sldLayoutId id="2147483937" r:id="rId24"/>
    <p:sldLayoutId id="2147483938" r:id="rId25"/>
    <p:sldLayoutId id="2147483939" r:id="rId26"/>
    <p:sldLayoutId id="2147483940" r:id="rId27"/>
    <p:sldLayoutId id="2147483941" r:id="rId28"/>
    <p:sldLayoutId id="2147483942" r:id="rId29"/>
    <p:sldLayoutId id="2147483943" r:id="rId30"/>
    <p:sldLayoutId id="2147483944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4625" indent="-174625" algn="l" defTabSz="914400" rtl="0" eaLnBrk="1" latinLnBrk="0" hangingPunct="1">
        <a:lnSpc>
          <a:spcPct val="90000"/>
        </a:lnSpc>
        <a:spcBef>
          <a:spcPts val="20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15938" indent="-231775" algn="l" defTabSz="914400" rtl="0" eaLnBrk="1" latinLnBrk="0" hangingPunct="1">
        <a:lnSpc>
          <a:spcPct val="90000"/>
        </a:lnSpc>
        <a:spcBef>
          <a:spcPts val="300"/>
        </a:spcBef>
        <a:buClr>
          <a:schemeClr val="accent2"/>
        </a:buClr>
        <a:buFont typeface="Speedee" panose="020B06030305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9775" indent="-168275" algn="l" defTabSz="914400" rtl="0" eaLnBrk="1" latinLnBrk="0" hangingPunct="1">
        <a:lnSpc>
          <a:spcPct val="90000"/>
        </a:lnSpc>
        <a:spcBef>
          <a:spcPts val="300"/>
        </a:spcBef>
        <a:buClr>
          <a:schemeClr val="accent2"/>
        </a:buClr>
        <a:buFont typeface="Speedee" panose="020B06030305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73138" indent="-173038" algn="l" defTabSz="914400" rtl="0" eaLnBrk="1" latinLnBrk="0" hangingPunct="1">
        <a:lnSpc>
          <a:spcPct val="90000"/>
        </a:lnSpc>
        <a:spcBef>
          <a:spcPts val="300"/>
        </a:spcBef>
        <a:buClr>
          <a:schemeClr val="accent2"/>
        </a:buClr>
        <a:buFont typeface="Speedee" panose="020B06030305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96975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accent2"/>
        </a:buClr>
        <a:buFont typeface="Speedee" panose="020B06030305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pos="2561">
          <p15:clr>
            <a:srgbClr val="F26B43"/>
          </p15:clr>
        </p15:guide>
        <p15:guide id="5" pos="5119">
          <p15:clr>
            <a:srgbClr val="F26B43"/>
          </p15:clr>
        </p15:guide>
        <p15:guide id="7" orient="horz" pos="144">
          <p15:clr>
            <a:srgbClr val="F26B43"/>
          </p15:clr>
        </p15:guide>
        <p15:guide id="8" orient="horz" pos="4176">
          <p15:clr>
            <a:srgbClr val="F26B43"/>
          </p15:clr>
        </p15:guide>
        <p15:guide id="11" orient="horz" pos="1440">
          <p15:clr>
            <a:srgbClr val="F26B43"/>
          </p15:clr>
        </p15:guide>
        <p15:guide id="12" orient="horz" pos="2880">
          <p15:clr>
            <a:srgbClr val="F26B43"/>
          </p15:clr>
        </p15:guide>
        <p15:guide id="13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6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6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3.xml"/><Relationship Id="rId5" Type="http://schemas.openxmlformats.org/officeDocument/2006/relationships/image" Target="../media/image21.jpg"/><Relationship Id="rId4" Type="http://schemas.openxmlformats.org/officeDocument/2006/relationships/image" Target="../media/image20.jp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5F11C8-7E5A-8717-E835-A68CE2161B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IN" dirty="0">
                <a:latin typeface="Arial"/>
                <a:cs typeface="Arial"/>
              </a:rPr>
              <a:t>GMA</a:t>
            </a:r>
            <a:r>
              <a:rPr lang="en-IN" spc="-135" dirty="0">
                <a:latin typeface="Arial"/>
                <a:cs typeface="Arial"/>
              </a:rPr>
              <a:t> </a:t>
            </a:r>
            <a:r>
              <a:rPr lang="en-IN" dirty="0" err="1">
                <a:latin typeface="Arial"/>
                <a:cs typeface="Arial"/>
              </a:rPr>
              <a:t>Lite</a:t>
            </a:r>
            <a:r>
              <a:rPr lang="en-IN" spc="-20" dirty="0">
                <a:latin typeface="Arial"/>
                <a:cs typeface="Arial"/>
              </a:rPr>
              <a:t> </a:t>
            </a:r>
            <a:r>
              <a:rPr lang="en-IN" dirty="0">
                <a:latin typeface="Arial"/>
                <a:cs typeface="Arial"/>
              </a:rPr>
              <a:t>–</a:t>
            </a:r>
            <a:r>
              <a:rPr lang="en-IN" spc="-130" dirty="0">
                <a:latin typeface="Arial"/>
                <a:cs typeface="Arial"/>
              </a:rPr>
              <a:t> </a:t>
            </a:r>
            <a:r>
              <a:rPr lang="en-IN" dirty="0">
                <a:latin typeface="Arial"/>
                <a:cs typeface="Arial"/>
              </a:rPr>
              <a:t>Advanced</a:t>
            </a:r>
            <a:r>
              <a:rPr lang="en-IN" spc="-114" dirty="0">
                <a:latin typeface="Arial"/>
                <a:cs typeface="Arial"/>
              </a:rPr>
              <a:t> </a:t>
            </a:r>
            <a:r>
              <a:rPr lang="en-IN" dirty="0">
                <a:latin typeface="Arial"/>
                <a:cs typeface="Arial"/>
              </a:rPr>
              <a:t>App</a:t>
            </a:r>
            <a:r>
              <a:rPr lang="en-IN" spc="-25" dirty="0">
                <a:latin typeface="Arial"/>
                <a:cs typeface="Arial"/>
              </a:rPr>
              <a:t> </a:t>
            </a:r>
            <a:r>
              <a:rPr lang="en-IN" spc="-20" dirty="0">
                <a:latin typeface="Arial"/>
                <a:cs typeface="Arial"/>
              </a:rPr>
              <a:t>Topic</a:t>
            </a:r>
            <a:endParaRPr lang="en-IN" dirty="0">
              <a:latin typeface="Arial"/>
              <a:cs typeface="Arial"/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3702A82B-62F0-5D8E-C09D-95EF26835D7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10th May 2023</a:t>
            </a:r>
          </a:p>
        </p:txBody>
      </p:sp>
      <p:sp>
        <p:nvSpPr>
          <p:cNvPr id="5" name="Rectangle 4"/>
          <p:cNvSpPr/>
          <p:nvPr/>
        </p:nvSpPr>
        <p:spPr>
          <a:xfrm>
            <a:off x="1588" y="0"/>
            <a:ext cx="12188825" cy="6858000"/>
          </a:xfrm>
          <a:prstGeom prst="rect">
            <a:avLst/>
          </a:prstGeom>
          <a:noFill/>
          <a:ln>
            <a:solidFill>
              <a:schemeClr val="bg1">
                <a:lumMod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2F2F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882035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object 2"/>
          <p:cNvSpPr txBox="1">
            <a:spLocks/>
          </p:cNvSpPr>
          <p:nvPr/>
        </p:nvSpPr>
        <p:spPr>
          <a:xfrm>
            <a:off x="1219717" y="457553"/>
            <a:ext cx="10601325" cy="513080"/>
          </a:xfrm>
          <a:prstGeom prst="rect">
            <a:avLst/>
          </a:prstGeom>
        </p:spPr>
        <p:txBody>
          <a:bodyPr vert="horz" wrap="square" lIns="0" tIns="1270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60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en-IN" spc="165" dirty="0"/>
              <a:t>Introduction</a:t>
            </a:r>
          </a:p>
        </p:txBody>
      </p:sp>
      <p:sp>
        <p:nvSpPr>
          <p:cNvPr id="5" name="object 3"/>
          <p:cNvSpPr/>
          <p:nvPr/>
        </p:nvSpPr>
        <p:spPr>
          <a:xfrm>
            <a:off x="1219717" y="1141615"/>
            <a:ext cx="2423160" cy="0"/>
          </a:xfrm>
          <a:custGeom>
            <a:avLst/>
            <a:gdLst/>
            <a:ahLst/>
            <a:cxnLst/>
            <a:rect l="l" t="t" r="r" b="b"/>
            <a:pathLst>
              <a:path w="2423160">
                <a:moveTo>
                  <a:pt x="0" y="0"/>
                </a:moveTo>
                <a:lnTo>
                  <a:pt x="2423160" y="1"/>
                </a:lnTo>
              </a:path>
            </a:pathLst>
          </a:custGeom>
          <a:ln w="76200">
            <a:solidFill>
              <a:srgbClr val="FFBC0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4"/>
          <p:cNvSpPr txBox="1"/>
          <p:nvPr/>
        </p:nvSpPr>
        <p:spPr>
          <a:xfrm>
            <a:off x="1440873" y="1640332"/>
            <a:ext cx="4410038" cy="4524956"/>
          </a:xfrm>
          <a:prstGeom prst="rect">
            <a:avLst/>
          </a:prstGeom>
        </p:spPr>
        <p:txBody>
          <a:bodyPr vert="horz" wrap="square" lIns="0" tIns="36194" rIns="0" bIns="0" rtlCol="0">
            <a:spAutoFit/>
          </a:bodyPr>
          <a:lstStyle/>
          <a:p>
            <a:pPr marL="12700" marR="5080">
              <a:lnSpc>
                <a:spcPct val="90400"/>
              </a:lnSpc>
              <a:spcBef>
                <a:spcPts val="284"/>
              </a:spcBef>
            </a:pPr>
            <a:r>
              <a:rPr sz="1600" dirty="0">
                <a:latin typeface="Calibri"/>
                <a:cs typeface="Calibri"/>
              </a:rPr>
              <a:t>We’re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introducing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an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75" dirty="0">
                <a:latin typeface="Calibri"/>
                <a:cs typeface="Calibri"/>
              </a:rPr>
              <a:t>exciting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70" dirty="0">
                <a:latin typeface="Calibri"/>
                <a:cs typeface="Calibri"/>
              </a:rPr>
              <a:t>new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50" dirty="0">
                <a:latin typeface="Calibri"/>
                <a:cs typeface="Calibri"/>
              </a:rPr>
              <a:t>feature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to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35" dirty="0">
                <a:latin typeface="Calibri"/>
                <a:cs typeface="Calibri"/>
              </a:rPr>
              <a:t>the </a:t>
            </a:r>
            <a:r>
              <a:rPr sz="1600" dirty="0">
                <a:latin typeface="Calibri"/>
                <a:cs typeface="Calibri"/>
              </a:rPr>
              <a:t>Market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85" dirty="0">
                <a:latin typeface="Calibri"/>
                <a:cs typeface="Calibri"/>
              </a:rPr>
              <a:t>Engine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80" dirty="0">
                <a:latin typeface="Calibri"/>
                <a:cs typeface="Calibri"/>
              </a:rPr>
              <a:t>which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70" dirty="0">
                <a:latin typeface="Calibri"/>
                <a:cs typeface="Calibri"/>
              </a:rPr>
              <a:t>should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60" dirty="0">
                <a:latin typeface="Calibri"/>
                <a:cs typeface="Calibri"/>
              </a:rPr>
              <a:t>help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95" dirty="0">
                <a:latin typeface="Calibri"/>
                <a:cs typeface="Calibri"/>
              </a:rPr>
              <a:t>save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everyone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a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-25" dirty="0">
                <a:latin typeface="Calibri"/>
                <a:cs typeface="Calibri"/>
              </a:rPr>
              <a:t>lot </a:t>
            </a:r>
            <a:r>
              <a:rPr sz="1600" spc="55" dirty="0">
                <a:latin typeface="Calibri"/>
                <a:cs typeface="Calibri"/>
              </a:rPr>
              <a:t>of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time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spc="75" dirty="0">
                <a:latin typeface="Calibri"/>
                <a:cs typeface="Calibri"/>
              </a:rPr>
              <a:t>and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allow</a:t>
            </a:r>
            <a:r>
              <a:rPr sz="1600" spc="15" dirty="0">
                <a:latin typeface="Calibri"/>
                <a:cs typeface="Calibri"/>
              </a:rPr>
              <a:t> </a:t>
            </a:r>
            <a:r>
              <a:rPr sz="1600" spc="60" dirty="0">
                <a:latin typeface="Calibri"/>
                <a:cs typeface="Calibri"/>
              </a:rPr>
              <a:t>you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to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spc="105" dirty="0">
                <a:latin typeface="Calibri"/>
                <a:cs typeface="Calibri"/>
              </a:rPr>
              <a:t>engage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with</a:t>
            </a:r>
            <a:r>
              <a:rPr sz="1600" spc="20" dirty="0">
                <a:latin typeface="Calibri"/>
                <a:cs typeface="Calibri"/>
              </a:rPr>
              <a:t> </a:t>
            </a:r>
            <a:r>
              <a:rPr sz="1600" spc="60" dirty="0">
                <a:latin typeface="Calibri"/>
                <a:cs typeface="Calibri"/>
              </a:rPr>
              <a:t>the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spc="50" dirty="0">
                <a:latin typeface="Calibri"/>
                <a:cs typeface="Calibri"/>
              </a:rPr>
              <a:t>GMA</a:t>
            </a:r>
            <a:r>
              <a:rPr sz="1600" spc="20" dirty="0">
                <a:latin typeface="Calibri"/>
                <a:cs typeface="Calibri"/>
              </a:rPr>
              <a:t> </a:t>
            </a:r>
            <a:r>
              <a:rPr sz="1600" spc="45" dirty="0">
                <a:latin typeface="Calibri"/>
                <a:cs typeface="Calibri"/>
              </a:rPr>
              <a:t>Lite </a:t>
            </a:r>
            <a:r>
              <a:rPr sz="1600" spc="55" dirty="0">
                <a:latin typeface="Calibri"/>
                <a:cs typeface="Calibri"/>
              </a:rPr>
              <a:t>solution</a:t>
            </a:r>
            <a:r>
              <a:rPr sz="1600" dirty="0">
                <a:latin typeface="Calibri"/>
                <a:cs typeface="Calibri"/>
              </a:rPr>
              <a:t> in </a:t>
            </a:r>
            <a:r>
              <a:rPr sz="1600" spc="70" dirty="0">
                <a:latin typeface="Calibri"/>
                <a:cs typeface="Calibri"/>
              </a:rPr>
              <a:t>new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40" dirty="0">
                <a:latin typeface="Calibri"/>
                <a:cs typeface="Calibri"/>
              </a:rPr>
              <a:t>ways.</a:t>
            </a:r>
            <a:endParaRPr sz="16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580"/>
              </a:spcBef>
            </a:pPr>
            <a:r>
              <a:rPr sz="1600" spc="110" dirty="0">
                <a:latin typeface="Calibri"/>
                <a:cs typeface="Calibri"/>
              </a:rPr>
              <a:t>Say</a:t>
            </a:r>
            <a:r>
              <a:rPr sz="1600" spc="15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hello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spc="50" dirty="0">
                <a:latin typeface="Calibri"/>
                <a:cs typeface="Calibri"/>
              </a:rPr>
              <a:t>to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b="1" spc="110" dirty="0">
                <a:latin typeface="Calibri"/>
                <a:cs typeface="Calibri"/>
              </a:rPr>
              <a:t>Self-Service</a:t>
            </a:r>
            <a:r>
              <a:rPr sz="1600" b="1" spc="15" dirty="0">
                <a:latin typeface="Calibri"/>
                <a:cs typeface="Calibri"/>
              </a:rPr>
              <a:t> </a:t>
            </a:r>
            <a:r>
              <a:rPr sz="1600" b="1" spc="90" dirty="0">
                <a:latin typeface="Calibri"/>
                <a:cs typeface="Calibri"/>
              </a:rPr>
              <a:t>Remote</a:t>
            </a:r>
            <a:r>
              <a:rPr sz="1600" b="1" spc="15" dirty="0">
                <a:latin typeface="Calibri"/>
                <a:cs typeface="Calibri"/>
              </a:rPr>
              <a:t> </a:t>
            </a:r>
            <a:r>
              <a:rPr sz="1600" b="1" spc="75" dirty="0">
                <a:latin typeface="Calibri"/>
                <a:cs typeface="Calibri"/>
              </a:rPr>
              <a:t>Configuration!</a:t>
            </a:r>
            <a:endParaRPr sz="16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1500" dirty="0">
              <a:latin typeface="Calibri"/>
              <a:cs typeface="Calibri"/>
            </a:endParaRPr>
          </a:p>
          <a:p>
            <a:pPr marL="12700" marR="118110">
              <a:lnSpc>
                <a:spcPct val="89700"/>
              </a:lnSpc>
            </a:pPr>
            <a:r>
              <a:rPr sz="1600" dirty="0">
                <a:latin typeface="Calibri"/>
                <a:cs typeface="Calibri"/>
              </a:rPr>
              <a:t>In</a:t>
            </a:r>
            <a:r>
              <a:rPr sz="1600" spc="20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this</a:t>
            </a:r>
            <a:r>
              <a:rPr sz="1600" spc="25" dirty="0">
                <a:latin typeface="Calibri"/>
                <a:cs typeface="Calibri"/>
              </a:rPr>
              <a:t> </a:t>
            </a:r>
            <a:r>
              <a:rPr sz="1600" spc="60" dirty="0">
                <a:latin typeface="Calibri"/>
                <a:cs typeface="Calibri"/>
              </a:rPr>
              <a:t>presentation</a:t>
            </a:r>
            <a:r>
              <a:rPr sz="1600" spc="25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we’ll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review</a:t>
            </a:r>
            <a:r>
              <a:rPr sz="1600" spc="15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the</a:t>
            </a:r>
            <a:r>
              <a:rPr sz="1600" spc="20" dirty="0">
                <a:latin typeface="Calibri"/>
                <a:cs typeface="Calibri"/>
              </a:rPr>
              <a:t> </a:t>
            </a:r>
            <a:r>
              <a:rPr sz="1600" spc="75" dirty="0">
                <a:latin typeface="Calibri"/>
                <a:cs typeface="Calibri"/>
              </a:rPr>
              <a:t>existing</a:t>
            </a:r>
            <a:r>
              <a:rPr sz="1600" spc="15" dirty="0">
                <a:latin typeface="Calibri"/>
                <a:cs typeface="Calibri"/>
              </a:rPr>
              <a:t> </a:t>
            </a:r>
            <a:r>
              <a:rPr sz="1600" spc="55" dirty="0">
                <a:latin typeface="Calibri"/>
                <a:cs typeface="Calibri"/>
              </a:rPr>
              <a:t>remote </a:t>
            </a:r>
            <a:r>
              <a:rPr sz="1600" spc="65" dirty="0">
                <a:latin typeface="Calibri"/>
                <a:cs typeface="Calibri"/>
              </a:rPr>
              <a:t>configuration</a:t>
            </a:r>
            <a:r>
              <a:rPr sz="1600" spc="80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capability,</a:t>
            </a:r>
            <a:r>
              <a:rPr sz="1600" spc="70" dirty="0">
                <a:latin typeface="Calibri"/>
                <a:cs typeface="Calibri"/>
              </a:rPr>
              <a:t> </a:t>
            </a:r>
            <a:r>
              <a:rPr sz="1600" spc="60" dirty="0">
                <a:latin typeface="Calibri"/>
                <a:cs typeface="Calibri"/>
              </a:rPr>
              <a:t>introduce</a:t>
            </a:r>
            <a:r>
              <a:rPr sz="1600" spc="75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the</a:t>
            </a:r>
            <a:r>
              <a:rPr sz="1600" spc="70" dirty="0">
                <a:latin typeface="Calibri"/>
                <a:cs typeface="Calibri"/>
              </a:rPr>
              <a:t> new</a:t>
            </a:r>
            <a:r>
              <a:rPr sz="1600" spc="75" dirty="0">
                <a:latin typeface="Calibri"/>
                <a:cs typeface="Calibri"/>
              </a:rPr>
              <a:t> </a:t>
            </a:r>
            <a:r>
              <a:rPr sz="1600" spc="70" dirty="0">
                <a:latin typeface="Calibri"/>
                <a:cs typeface="Calibri"/>
              </a:rPr>
              <a:t>self- </a:t>
            </a:r>
            <a:r>
              <a:rPr sz="1600" spc="75" dirty="0">
                <a:latin typeface="Calibri"/>
                <a:cs typeface="Calibri"/>
              </a:rPr>
              <a:t>service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45" dirty="0">
                <a:latin typeface="Calibri"/>
                <a:cs typeface="Calibri"/>
              </a:rPr>
              <a:t>functionality,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highlight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60" dirty="0">
                <a:latin typeface="Calibri"/>
                <a:cs typeface="Calibri"/>
              </a:rPr>
              <a:t>what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it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75" dirty="0">
                <a:latin typeface="Calibri"/>
                <a:cs typeface="Calibri"/>
              </a:rPr>
              <a:t>is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75" dirty="0">
                <a:latin typeface="Calibri"/>
                <a:cs typeface="Calibri"/>
              </a:rPr>
              <a:t>capable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35" dirty="0">
                <a:latin typeface="Calibri"/>
                <a:cs typeface="Calibri"/>
              </a:rPr>
              <a:t>of </a:t>
            </a:r>
            <a:r>
              <a:rPr sz="1600" spc="55" dirty="0">
                <a:latin typeface="Calibri"/>
                <a:cs typeface="Calibri"/>
              </a:rPr>
              <a:t>right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70" dirty="0">
                <a:latin typeface="Calibri"/>
                <a:cs typeface="Calibri"/>
              </a:rPr>
              <a:t>now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75" dirty="0">
                <a:latin typeface="Calibri"/>
                <a:cs typeface="Calibri"/>
              </a:rPr>
              <a:t>and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80" dirty="0">
                <a:latin typeface="Calibri"/>
                <a:cs typeface="Calibri"/>
              </a:rPr>
              <a:t>give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60" dirty="0">
                <a:latin typeface="Calibri"/>
                <a:cs typeface="Calibri"/>
              </a:rPr>
              <a:t>you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a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90" dirty="0">
                <a:latin typeface="Calibri"/>
                <a:cs typeface="Calibri"/>
              </a:rPr>
              <a:t>sneak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70" dirty="0">
                <a:latin typeface="Calibri"/>
                <a:cs typeface="Calibri"/>
              </a:rPr>
              <a:t>peak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into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55" dirty="0">
                <a:latin typeface="Calibri"/>
                <a:cs typeface="Calibri"/>
              </a:rPr>
              <a:t>what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50" dirty="0">
                <a:latin typeface="Calibri"/>
                <a:cs typeface="Calibri"/>
              </a:rPr>
              <a:t>is </a:t>
            </a:r>
            <a:r>
              <a:rPr sz="1600" spc="105" dirty="0">
                <a:latin typeface="Calibri"/>
                <a:cs typeface="Calibri"/>
              </a:rPr>
              <a:t>coming</a:t>
            </a:r>
            <a:r>
              <a:rPr sz="1600" spc="-20" dirty="0">
                <a:latin typeface="Calibri"/>
                <a:cs typeface="Calibri"/>
              </a:rPr>
              <a:t> next.</a:t>
            </a:r>
            <a:endParaRPr sz="1600" dirty="0">
              <a:latin typeface="Calibri"/>
              <a:cs typeface="Calibri"/>
            </a:endParaRPr>
          </a:p>
          <a:p>
            <a:pPr marL="12700" marR="121920">
              <a:lnSpc>
                <a:spcPct val="91300"/>
              </a:lnSpc>
              <a:spcBef>
                <a:spcPts val="1750"/>
              </a:spcBef>
            </a:pPr>
            <a:r>
              <a:rPr sz="1600" spc="55" dirty="0">
                <a:latin typeface="Calibri"/>
                <a:cs typeface="Calibri"/>
              </a:rPr>
              <a:t>We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will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70" dirty="0">
                <a:latin typeface="Calibri"/>
                <a:cs typeface="Calibri"/>
              </a:rPr>
              <a:t>also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review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spc="60" dirty="0">
                <a:latin typeface="Calibri"/>
                <a:cs typeface="Calibri"/>
              </a:rPr>
              <a:t>the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spc="60" dirty="0">
                <a:latin typeface="Calibri"/>
                <a:cs typeface="Calibri"/>
              </a:rPr>
              <a:t>project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spc="60" dirty="0">
                <a:latin typeface="Calibri"/>
                <a:cs typeface="Calibri"/>
              </a:rPr>
              <a:t>timelines</a:t>
            </a:r>
            <a:r>
              <a:rPr sz="1600" spc="15" dirty="0">
                <a:latin typeface="Calibri"/>
                <a:cs typeface="Calibri"/>
              </a:rPr>
              <a:t> </a:t>
            </a:r>
            <a:r>
              <a:rPr sz="1600" spc="75" dirty="0">
                <a:latin typeface="Calibri"/>
                <a:cs typeface="Calibri"/>
              </a:rPr>
              <a:t>and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take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spc="15" dirty="0">
                <a:latin typeface="Calibri"/>
                <a:cs typeface="Calibri"/>
              </a:rPr>
              <a:t>a </a:t>
            </a:r>
            <a:r>
              <a:rPr sz="1600" spc="75" dirty="0">
                <a:latin typeface="Calibri"/>
                <a:cs typeface="Calibri"/>
              </a:rPr>
              <a:t>quick</a:t>
            </a:r>
            <a:r>
              <a:rPr sz="1600" spc="-25" dirty="0">
                <a:latin typeface="Calibri"/>
                <a:cs typeface="Calibri"/>
              </a:rPr>
              <a:t> </a:t>
            </a:r>
            <a:r>
              <a:rPr sz="1600" spc="55" dirty="0">
                <a:latin typeface="Calibri"/>
                <a:cs typeface="Calibri"/>
              </a:rPr>
              <a:t>look</a:t>
            </a:r>
            <a:r>
              <a:rPr sz="1600" spc="-25" dirty="0">
                <a:latin typeface="Calibri"/>
                <a:cs typeface="Calibri"/>
              </a:rPr>
              <a:t> </a:t>
            </a:r>
            <a:r>
              <a:rPr sz="1600" spc="50" dirty="0">
                <a:latin typeface="Calibri"/>
                <a:cs typeface="Calibri"/>
              </a:rPr>
              <a:t>at</a:t>
            </a:r>
            <a:r>
              <a:rPr sz="1600" spc="-25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the</a:t>
            </a:r>
            <a:r>
              <a:rPr sz="1600" spc="-25" dirty="0">
                <a:latin typeface="Calibri"/>
                <a:cs typeface="Calibri"/>
              </a:rPr>
              <a:t> </a:t>
            </a:r>
            <a:r>
              <a:rPr sz="1600" spc="60" dirty="0">
                <a:latin typeface="Calibri"/>
                <a:cs typeface="Calibri"/>
              </a:rPr>
              <a:t>help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&amp;</a:t>
            </a:r>
            <a:r>
              <a:rPr sz="1600" spc="-25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support</a:t>
            </a:r>
            <a:r>
              <a:rPr sz="1600" spc="-25" dirty="0">
                <a:latin typeface="Calibri"/>
                <a:cs typeface="Calibri"/>
              </a:rPr>
              <a:t> </a:t>
            </a:r>
            <a:r>
              <a:rPr sz="1600" spc="80" dirty="0">
                <a:latin typeface="Calibri"/>
                <a:cs typeface="Calibri"/>
              </a:rPr>
              <a:t>resources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35" dirty="0">
                <a:latin typeface="Calibri"/>
                <a:cs typeface="Calibri"/>
              </a:rPr>
              <a:t>available </a:t>
            </a:r>
            <a:r>
              <a:rPr sz="1600" dirty="0">
                <a:latin typeface="Calibri"/>
                <a:cs typeface="Calibri"/>
              </a:rPr>
              <a:t>for </a:t>
            </a:r>
            <a:r>
              <a:rPr sz="1600" spc="60" dirty="0">
                <a:latin typeface="Calibri"/>
                <a:cs typeface="Calibri"/>
              </a:rPr>
              <a:t>the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90" dirty="0">
                <a:latin typeface="Calibri"/>
                <a:cs typeface="Calibri"/>
              </a:rPr>
              <a:t>Self-</a:t>
            </a:r>
            <a:r>
              <a:rPr sz="1600" spc="85" dirty="0">
                <a:latin typeface="Calibri"/>
                <a:cs typeface="Calibri"/>
              </a:rPr>
              <a:t>Service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85" dirty="0">
                <a:latin typeface="Calibri"/>
                <a:cs typeface="Calibri"/>
              </a:rPr>
              <a:t>Remote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50" dirty="0">
                <a:latin typeface="Calibri"/>
                <a:cs typeface="Calibri"/>
              </a:rPr>
              <a:t>Configuration.</a:t>
            </a:r>
            <a:endParaRPr sz="16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1450" dirty="0">
              <a:latin typeface="Calibri"/>
              <a:cs typeface="Calibri"/>
            </a:endParaRPr>
          </a:p>
          <a:p>
            <a:pPr marL="12700" marR="93980">
              <a:lnSpc>
                <a:spcPts val="1700"/>
              </a:lnSpc>
            </a:pPr>
            <a:r>
              <a:rPr sz="1600" spc="65" dirty="0">
                <a:latin typeface="Calibri"/>
                <a:cs typeface="Calibri"/>
              </a:rPr>
              <a:t>But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55" dirty="0">
                <a:latin typeface="Calibri"/>
                <a:cs typeface="Calibri"/>
              </a:rPr>
              <a:t>before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70" dirty="0">
                <a:latin typeface="Calibri"/>
                <a:cs typeface="Calibri"/>
              </a:rPr>
              <a:t>we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85" dirty="0">
                <a:latin typeface="Calibri"/>
                <a:cs typeface="Calibri"/>
              </a:rPr>
              <a:t>get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50" dirty="0">
                <a:latin typeface="Calibri"/>
                <a:cs typeface="Calibri"/>
              </a:rPr>
              <a:t>to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that,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60" dirty="0">
                <a:latin typeface="Calibri"/>
                <a:cs typeface="Calibri"/>
              </a:rPr>
              <a:t>lets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take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a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50" dirty="0">
                <a:latin typeface="Calibri"/>
                <a:cs typeface="Calibri"/>
              </a:rPr>
              <a:t>look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at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70" dirty="0">
                <a:latin typeface="Calibri"/>
                <a:cs typeface="Calibri"/>
              </a:rPr>
              <a:t>how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40" dirty="0">
                <a:latin typeface="Calibri"/>
                <a:cs typeface="Calibri"/>
              </a:rPr>
              <a:t>the </a:t>
            </a:r>
            <a:r>
              <a:rPr sz="1600" dirty="0">
                <a:latin typeface="Calibri"/>
                <a:cs typeface="Calibri"/>
              </a:rPr>
              <a:t>Market</a:t>
            </a:r>
            <a:r>
              <a:rPr sz="1600" spc="25" dirty="0">
                <a:latin typeface="Calibri"/>
                <a:cs typeface="Calibri"/>
              </a:rPr>
              <a:t> </a:t>
            </a:r>
            <a:r>
              <a:rPr sz="1600" spc="85" dirty="0">
                <a:latin typeface="Calibri"/>
                <a:cs typeface="Calibri"/>
              </a:rPr>
              <a:t>Engine</a:t>
            </a:r>
            <a:r>
              <a:rPr sz="1600" spc="30" dirty="0">
                <a:latin typeface="Calibri"/>
                <a:cs typeface="Calibri"/>
              </a:rPr>
              <a:t> </a:t>
            </a:r>
            <a:r>
              <a:rPr sz="1600" spc="75" dirty="0">
                <a:latin typeface="Calibri"/>
                <a:cs typeface="Calibri"/>
              </a:rPr>
              <a:t>is</a:t>
            </a:r>
            <a:r>
              <a:rPr sz="1600" spc="35" dirty="0">
                <a:latin typeface="Calibri"/>
                <a:cs typeface="Calibri"/>
              </a:rPr>
              <a:t> </a:t>
            </a:r>
            <a:r>
              <a:rPr sz="1600" spc="105" dirty="0">
                <a:latin typeface="Calibri"/>
                <a:cs typeface="Calibri"/>
              </a:rPr>
              <a:t>evolving…</a:t>
            </a:r>
            <a:endParaRPr sz="1600" dirty="0">
              <a:latin typeface="Calibri"/>
              <a:cs typeface="Calibri"/>
            </a:endParaRPr>
          </a:p>
        </p:txBody>
      </p:sp>
      <p:pic>
        <p:nvPicPr>
          <p:cNvPr id="7" name="object 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972554" y="1548000"/>
            <a:ext cx="5975607" cy="431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582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1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object 2"/>
          <p:cNvSpPr txBox="1"/>
          <p:nvPr/>
        </p:nvSpPr>
        <p:spPr>
          <a:xfrm>
            <a:off x="1394691" y="2466653"/>
            <a:ext cx="5720138" cy="277268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spc="90" dirty="0">
                <a:latin typeface="Calibri"/>
                <a:cs typeface="Calibri"/>
              </a:rPr>
              <a:t>You</a:t>
            </a:r>
            <a:r>
              <a:rPr sz="1600" spc="-35" dirty="0">
                <a:latin typeface="Calibri"/>
                <a:cs typeface="Calibri"/>
              </a:rPr>
              <a:t> </a:t>
            </a:r>
            <a:r>
              <a:rPr sz="1600" spc="105" dirty="0">
                <a:latin typeface="Calibri"/>
                <a:cs typeface="Calibri"/>
              </a:rPr>
              <a:t>can</a:t>
            </a:r>
            <a:r>
              <a:rPr sz="1600" spc="-25" dirty="0">
                <a:latin typeface="Calibri"/>
                <a:cs typeface="Calibri"/>
              </a:rPr>
              <a:t> </a:t>
            </a:r>
            <a:r>
              <a:rPr sz="1600" spc="70" dirty="0">
                <a:latin typeface="Calibri"/>
                <a:cs typeface="Calibri"/>
              </a:rPr>
              <a:t>configure</a:t>
            </a:r>
            <a:r>
              <a:rPr sz="1600" spc="-30" dirty="0">
                <a:latin typeface="Calibri"/>
                <a:cs typeface="Calibri"/>
              </a:rPr>
              <a:t> </a:t>
            </a:r>
            <a:r>
              <a:rPr sz="1600" spc="60" dirty="0">
                <a:latin typeface="Calibri"/>
                <a:cs typeface="Calibri"/>
              </a:rPr>
              <a:t>the</a:t>
            </a:r>
            <a:r>
              <a:rPr sz="1600" spc="-30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‘Hero’</a:t>
            </a:r>
            <a:r>
              <a:rPr sz="1600" spc="-35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Banner</a:t>
            </a:r>
            <a:r>
              <a:rPr sz="1600" spc="-35" dirty="0">
                <a:latin typeface="Calibri"/>
                <a:cs typeface="Calibri"/>
              </a:rPr>
              <a:t> </a:t>
            </a:r>
            <a:r>
              <a:rPr sz="1600" spc="85" dirty="0">
                <a:latin typeface="Calibri"/>
                <a:cs typeface="Calibri"/>
              </a:rPr>
              <a:t>Ad</a:t>
            </a:r>
            <a:r>
              <a:rPr sz="1600" spc="-30" dirty="0">
                <a:latin typeface="Calibri"/>
                <a:cs typeface="Calibri"/>
              </a:rPr>
              <a:t> </a:t>
            </a:r>
            <a:r>
              <a:rPr sz="1600" spc="50" dirty="0">
                <a:latin typeface="Calibri"/>
                <a:cs typeface="Calibri"/>
              </a:rPr>
              <a:t>to</a:t>
            </a:r>
            <a:r>
              <a:rPr sz="1600" spc="-30" dirty="0">
                <a:latin typeface="Calibri"/>
                <a:cs typeface="Calibri"/>
              </a:rPr>
              <a:t> </a:t>
            </a:r>
            <a:r>
              <a:rPr sz="1600" spc="90" dirty="0">
                <a:latin typeface="Calibri"/>
                <a:cs typeface="Calibri"/>
              </a:rPr>
              <a:t>show</a:t>
            </a:r>
            <a:r>
              <a:rPr sz="1600" spc="-30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a</a:t>
            </a:r>
            <a:r>
              <a:rPr sz="1600" spc="-30" dirty="0">
                <a:latin typeface="Calibri"/>
                <a:cs typeface="Calibri"/>
              </a:rPr>
              <a:t> </a:t>
            </a:r>
            <a:r>
              <a:rPr sz="1600" spc="75" dirty="0">
                <a:latin typeface="Calibri"/>
                <a:cs typeface="Calibri"/>
              </a:rPr>
              <a:t>countdown</a:t>
            </a:r>
            <a:r>
              <a:rPr sz="1600" spc="-2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timer.</a:t>
            </a:r>
            <a:endParaRPr sz="1600" dirty="0">
              <a:latin typeface="Calibri"/>
              <a:cs typeface="Calibri"/>
            </a:endParaRPr>
          </a:p>
          <a:p>
            <a:pPr marL="12700" marR="5080">
              <a:lnSpc>
                <a:spcPct val="91200"/>
              </a:lnSpc>
              <a:spcBef>
                <a:spcPts val="1750"/>
              </a:spcBef>
            </a:pPr>
            <a:r>
              <a:rPr sz="1600" spc="95" dirty="0">
                <a:latin typeface="Calibri"/>
                <a:cs typeface="Calibri"/>
              </a:rPr>
              <a:t>This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75" dirty="0">
                <a:latin typeface="Calibri"/>
                <a:cs typeface="Calibri"/>
              </a:rPr>
              <a:t>countdown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50" dirty="0">
                <a:latin typeface="Calibri"/>
                <a:cs typeface="Calibri"/>
              </a:rPr>
              <a:t>timer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105" dirty="0">
                <a:latin typeface="Calibri"/>
                <a:cs typeface="Calibri"/>
              </a:rPr>
              <a:t>can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75" dirty="0">
                <a:latin typeface="Calibri"/>
                <a:cs typeface="Calibri"/>
              </a:rPr>
              <a:t>be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75" dirty="0">
                <a:latin typeface="Calibri"/>
                <a:cs typeface="Calibri"/>
              </a:rPr>
              <a:t>configured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110" dirty="0">
                <a:latin typeface="Calibri"/>
                <a:cs typeface="Calibri"/>
              </a:rPr>
              <a:t>so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50" dirty="0">
                <a:latin typeface="Calibri"/>
                <a:cs typeface="Calibri"/>
              </a:rPr>
              <a:t>that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60" dirty="0">
                <a:latin typeface="Calibri"/>
                <a:cs typeface="Calibri"/>
              </a:rPr>
              <a:t>days,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hours,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minutes </a:t>
            </a:r>
            <a:r>
              <a:rPr sz="1600" spc="75" dirty="0">
                <a:latin typeface="Calibri"/>
                <a:cs typeface="Calibri"/>
              </a:rPr>
              <a:t>and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110" dirty="0">
                <a:latin typeface="Calibri"/>
                <a:cs typeface="Calibri"/>
              </a:rPr>
              <a:t>seconds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are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55" dirty="0">
                <a:latin typeface="Calibri"/>
                <a:cs typeface="Calibri"/>
              </a:rPr>
              <a:t>visible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or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hidden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75" dirty="0">
                <a:latin typeface="Calibri"/>
                <a:cs typeface="Calibri"/>
              </a:rPr>
              <a:t>and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the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55" dirty="0">
                <a:latin typeface="Calibri"/>
                <a:cs typeface="Calibri"/>
              </a:rPr>
              <a:t>text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60" dirty="0">
                <a:latin typeface="Calibri"/>
                <a:cs typeface="Calibri"/>
              </a:rPr>
              <a:t>colour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60" dirty="0">
                <a:latin typeface="Calibri"/>
                <a:cs typeface="Calibri"/>
              </a:rPr>
              <a:t>of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the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50" dirty="0">
                <a:latin typeface="Calibri"/>
                <a:cs typeface="Calibri"/>
              </a:rPr>
              <a:t>timer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50" dirty="0">
                <a:latin typeface="Calibri"/>
                <a:cs typeface="Calibri"/>
              </a:rPr>
              <a:t>is </a:t>
            </a:r>
            <a:r>
              <a:rPr sz="1600" spc="70" dirty="0">
                <a:latin typeface="Calibri"/>
                <a:cs typeface="Calibri"/>
              </a:rPr>
              <a:t>also</a:t>
            </a:r>
            <a:r>
              <a:rPr sz="1600" spc="-35" dirty="0">
                <a:latin typeface="Calibri"/>
                <a:cs typeface="Calibri"/>
              </a:rPr>
              <a:t> </a:t>
            </a:r>
            <a:r>
              <a:rPr sz="1600" spc="45" dirty="0">
                <a:latin typeface="Calibri"/>
                <a:cs typeface="Calibri"/>
              </a:rPr>
              <a:t>configurable.</a:t>
            </a:r>
            <a:endParaRPr sz="1600" dirty="0">
              <a:latin typeface="Calibri"/>
              <a:cs typeface="Calibri"/>
            </a:endParaRPr>
          </a:p>
          <a:p>
            <a:pPr marL="12700" marR="81915">
              <a:lnSpc>
                <a:spcPts val="1800"/>
              </a:lnSpc>
              <a:spcBef>
                <a:spcPts val="1745"/>
              </a:spcBef>
            </a:pPr>
            <a:r>
              <a:rPr sz="1600" spc="90" dirty="0">
                <a:latin typeface="Calibri"/>
                <a:cs typeface="Calibri"/>
              </a:rPr>
              <a:t>You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still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75" dirty="0">
                <a:latin typeface="Calibri"/>
                <a:cs typeface="Calibri"/>
              </a:rPr>
              <a:t>need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50" dirty="0">
                <a:latin typeface="Calibri"/>
                <a:cs typeface="Calibri"/>
              </a:rPr>
              <a:t>to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75" dirty="0">
                <a:latin typeface="Calibri"/>
                <a:cs typeface="Calibri"/>
              </a:rPr>
              <a:t>add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a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90" dirty="0">
                <a:latin typeface="Calibri"/>
                <a:cs typeface="Calibri"/>
              </a:rPr>
              <a:t>'News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75" dirty="0">
                <a:latin typeface="Calibri"/>
                <a:cs typeface="Calibri"/>
              </a:rPr>
              <a:t>Appearance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140" dirty="0">
                <a:latin typeface="Calibri"/>
                <a:cs typeface="Calibri"/>
              </a:rPr>
              <a:t>&gt;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100" dirty="0">
                <a:latin typeface="Calibri"/>
                <a:cs typeface="Calibri"/>
              </a:rPr>
              <a:t>Show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85" dirty="0">
                <a:latin typeface="Calibri"/>
                <a:cs typeface="Calibri"/>
              </a:rPr>
              <a:t>Countdown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Timer' </a:t>
            </a:r>
            <a:r>
              <a:rPr sz="1600" spc="75" dirty="0">
                <a:latin typeface="Calibri"/>
                <a:cs typeface="Calibri"/>
              </a:rPr>
              <a:t>content</a:t>
            </a:r>
            <a:r>
              <a:rPr sz="1600" spc="-25" dirty="0">
                <a:latin typeface="Calibri"/>
                <a:cs typeface="Calibri"/>
              </a:rPr>
              <a:t> </a:t>
            </a:r>
            <a:r>
              <a:rPr sz="1600" spc="90" dirty="0">
                <a:latin typeface="Calibri"/>
                <a:cs typeface="Calibri"/>
              </a:rPr>
              <a:t>tag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50" dirty="0">
                <a:latin typeface="Calibri"/>
                <a:cs typeface="Calibri"/>
              </a:rPr>
              <a:t>to</a:t>
            </a:r>
            <a:r>
              <a:rPr sz="1600" spc="-25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the</a:t>
            </a:r>
            <a:r>
              <a:rPr sz="1600" spc="-25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Banner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90" dirty="0">
                <a:latin typeface="Calibri"/>
                <a:cs typeface="Calibri"/>
              </a:rPr>
              <a:t>Ad</a:t>
            </a:r>
            <a:r>
              <a:rPr sz="1600" spc="-25" dirty="0">
                <a:latin typeface="Calibri"/>
                <a:cs typeface="Calibri"/>
              </a:rPr>
              <a:t> </a:t>
            </a:r>
            <a:r>
              <a:rPr sz="1600" spc="50" dirty="0">
                <a:latin typeface="Calibri"/>
                <a:cs typeface="Calibri"/>
              </a:rPr>
              <a:t>that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you</a:t>
            </a:r>
            <a:r>
              <a:rPr sz="1600" spc="-25" dirty="0">
                <a:latin typeface="Calibri"/>
                <a:cs typeface="Calibri"/>
              </a:rPr>
              <a:t> </a:t>
            </a:r>
            <a:r>
              <a:rPr sz="1600" spc="70" dirty="0">
                <a:latin typeface="Calibri"/>
                <a:cs typeface="Calibri"/>
              </a:rPr>
              <a:t>create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in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Plexure.</a:t>
            </a:r>
            <a:endParaRPr sz="16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545"/>
              </a:spcBef>
            </a:pPr>
            <a:r>
              <a:rPr sz="1600" dirty="0">
                <a:latin typeface="Calibri"/>
                <a:cs typeface="Calibri"/>
              </a:rPr>
              <a:t>More</a:t>
            </a:r>
            <a:r>
              <a:rPr sz="1600" spc="-25" dirty="0">
                <a:latin typeface="Calibri"/>
                <a:cs typeface="Calibri"/>
              </a:rPr>
              <a:t> </a:t>
            </a:r>
            <a:r>
              <a:rPr sz="1600" spc="55" dirty="0">
                <a:latin typeface="Calibri"/>
                <a:cs typeface="Calibri"/>
              </a:rPr>
              <a:t>details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70" dirty="0">
                <a:latin typeface="Calibri"/>
                <a:cs typeface="Calibri"/>
              </a:rPr>
              <a:t>on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70" dirty="0">
                <a:latin typeface="Calibri"/>
                <a:cs typeface="Calibri"/>
              </a:rPr>
              <a:t>how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50" dirty="0">
                <a:latin typeface="Calibri"/>
                <a:cs typeface="Calibri"/>
              </a:rPr>
              <a:t>to</a:t>
            </a:r>
            <a:r>
              <a:rPr sz="1600" spc="-25" dirty="0">
                <a:latin typeface="Calibri"/>
                <a:cs typeface="Calibri"/>
              </a:rPr>
              <a:t> </a:t>
            </a:r>
            <a:r>
              <a:rPr sz="1600" spc="75" dirty="0">
                <a:latin typeface="Calibri"/>
                <a:cs typeface="Calibri"/>
              </a:rPr>
              <a:t>configure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65" dirty="0">
                <a:latin typeface="Calibri"/>
                <a:cs typeface="Calibri"/>
              </a:rPr>
              <a:t>this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45" dirty="0">
                <a:latin typeface="Calibri"/>
                <a:cs typeface="Calibri"/>
              </a:rPr>
              <a:t>available</a:t>
            </a:r>
            <a:r>
              <a:rPr sz="1600" spc="-30" dirty="0">
                <a:latin typeface="Calibri"/>
                <a:cs typeface="Calibri"/>
              </a:rPr>
              <a:t> </a:t>
            </a:r>
            <a:r>
              <a:rPr sz="1600" u="sng" spc="55" dirty="0">
                <a:solidFill>
                  <a:srgbClr val="DB0007"/>
                </a:solidFill>
                <a:uFill>
                  <a:solidFill>
                    <a:srgbClr val="DB0007"/>
                  </a:solidFill>
                </a:uFill>
                <a:latin typeface="Calibri"/>
                <a:cs typeface="Calibri"/>
              </a:rPr>
              <a:t>here</a:t>
            </a:r>
            <a:r>
              <a:rPr sz="1600" u="sng" spc="-20" dirty="0">
                <a:solidFill>
                  <a:srgbClr val="DB0007"/>
                </a:solidFill>
                <a:uFill>
                  <a:solidFill>
                    <a:srgbClr val="DB0007"/>
                  </a:solidFill>
                </a:uFill>
                <a:latin typeface="Calibri"/>
                <a:cs typeface="Calibri"/>
              </a:rPr>
              <a:t> </a:t>
            </a:r>
            <a:r>
              <a:rPr sz="1600" u="sng" spc="70" dirty="0">
                <a:solidFill>
                  <a:srgbClr val="DB0007"/>
                </a:solidFill>
                <a:uFill>
                  <a:solidFill>
                    <a:srgbClr val="DB0007"/>
                  </a:solidFill>
                </a:uFill>
                <a:latin typeface="Calibri"/>
                <a:cs typeface="Calibri"/>
              </a:rPr>
              <a:t>on</a:t>
            </a:r>
            <a:r>
              <a:rPr sz="1600" u="sng" spc="-20" dirty="0">
                <a:solidFill>
                  <a:srgbClr val="DB0007"/>
                </a:solidFill>
                <a:uFill>
                  <a:solidFill>
                    <a:srgbClr val="DB0007"/>
                  </a:solidFill>
                </a:uFill>
                <a:latin typeface="Calibri"/>
                <a:cs typeface="Calibri"/>
              </a:rPr>
              <a:t> </a:t>
            </a:r>
            <a:r>
              <a:rPr sz="1600" u="sng" spc="65" dirty="0">
                <a:solidFill>
                  <a:srgbClr val="DB0007"/>
                </a:solidFill>
                <a:uFill>
                  <a:solidFill>
                    <a:srgbClr val="DB0007"/>
                  </a:solidFill>
                </a:uFill>
                <a:latin typeface="Calibri"/>
                <a:cs typeface="Calibri"/>
              </a:rPr>
              <a:t>Confluence</a:t>
            </a:r>
            <a:r>
              <a:rPr sz="1600" spc="65" dirty="0">
                <a:latin typeface="Calibri"/>
                <a:cs typeface="Calibri"/>
              </a:rPr>
              <a:t>.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6" name="object 4"/>
          <p:cNvSpPr txBox="1">
            <a:spLocks/>
          </p:cNvSpPr>
          <p:nvPr/>
        </p:nvSpPr>
        <p:spPr>
          <a:xfrm>
            <a:off x="1346836" y="109931"/>
            <a:ext cx="10601325" cy="1120820"/>
          </a:xfrm>
          <a:prstGeom prst="rect">
            <a:avLst/>
          </a:prstGeom>
        </p:spPr>
        <p:txBody>
          <a:bodyPr vert="horz" wrap="square" lIns="0" tIns="1270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60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en-IN" sz="3600" spc="165" dirty="0"/>
              <a:t>Available</a:t>
            </a:r>
            <a:r>
              <a:rPr lang="en-IN" sz="3600" spc="-65" dirty="0"/>
              <a:t> </a:t>
            </a:r>
            <a:r>
              <a:rPr lang="en-IN" sz="3600" spc="210" dirty="0"/>
              <a:t>Configurations</a:t>
            </a:r>
            <a:r>
              <a:rPr lang="en-IN" sz="3600" spc="-90" dirty="0"/>
              <a:t> </a:t>
            </a:r>
            <a:r>
              <a:rPr lang="en-IN" sz="3600" dirty="0"/>
              <a:t>–</a:t>
            </a:r>
            <a:r>
              <a:rPr lang="en-IN" sz="3600" spc="-75" dirty="0"/>
              <a:t> </a:t>
            </a:r>
            <a:r>
              <a:rPr lang="en-IN" sz="3600" spc="195" dirty="0"/>
              <a:t>Home</a:t>
            </a:r>
            <a:r>
              <a:rPr lang="en-IN" sz="3600" spc="-70" dirty="0"/>
              <a:t> </a:t>
            </a:r>
            <a:r>
              <a:rPr lang="en-IN" sz="3600" dirty="0"/>
              <a:t>–</a:t>
            </a:r>
            <a:r>
              <a:rPr lang="en-IN" sz="3600" spc="-70" dirty="0"/>
              <a:t> </a:t>
            </a:r>
            <a:r>
              <a:rPr lang="en-IN" sz="3600" spc="195" dirty="0"/>
              <a:t>Countdown</a:t>
            </a:r>
            <a:r>
              <a:rPr lang="en-IN" sz="3600" spc="-70" dirty="0"/>
              <a:t> </a:t>
            </a:r>
            <a:r>
              <a:rPr lang="en-IN" sz="3600" spc="175" dirty="0"/>
              <a:t>Timer</a:t>
            </a:r>
          </a:p>
        </p:txBody>
      </p:sp>
      <p:sp>
        <p:nvSpPr>
          <p:cNvPr id="7" name="object 5"/>
          <p:cNvSpPr/>
          <p:nvPr/>
        </p:nvSpPr>
        <p:spPr>
          <a:xfrm>
            <a:off x="1242291" y="1280160"/>
            <a:ext cx="9966960" cy="0"/>
          </a:xfrm>
          <a:custGeom>
            <a:avLst/>
            <a:gdLst/>
            <a:ahLst/>
            <a:cxnLst/>
            <a:rect l="l" t="t" r="r" b="b"/>
            <a:pathLst>
              <a:path w="9966960">
                <a:moveTo>
                  <a:pt x="0" y="0"/>
                </a:moveTo>
                <a:lnTo>
                  <a:pt x="9966960" y="1"/>
                </a:lnTo>
              </a:path>
            </a:pathLst>
          </a:custGeom>
          <a:ln w="76200">
            <a:solidFill>
              <a:srgbClr val="FFBC0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object 6"/>
          <p:cNvGrpSpPr/>
          <p:nvPr/>
        </p:nvGrpSpPr>
        <p:grpSpPr>
          <a:xfrm>
            <a:off x="7513319" y="1853611"/>
            <a:ext cx="4184015" cy="4253865"/>
            <a:chOff x="7513319" y="1484156"/>
            <a:chExt cx="4184015" cy="4253865"/>
          </a:xfrm>
        </p:grpSpPr>
        <p:pic>
          <p:nvPicPr>
            <p:cNvPr id="9" name="object 7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691688" y="1614547"/>
              <a:ext cx="2005521" cy="3982592"/>
            </a:xfrm>
            <a:prstGeom prst="rect">
              <a:avLst/>
            </a:prstGeom>
          </p:spPr>
        </p:pic>
        <p:pic>
          <p:nvPicPr>
            <p:cNvPr id="10" name="object 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513319" y="1484156"/>
              <a:ext cx="2137463" cy="42536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75243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1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object 2"/>
          <p:cNvSpPr txBox="1">
            <a:spLocks/>
          </p:cNvSpPr>
          <p:nvPr/>
        </p:nvSpPr>
        <p:spPr>
          <a:xfrm>
            <a:off x="1209240" y="362118"/>
            <a:ext cx="10601325" cy="1120820"/>
          </a:xfrm>
          <a:prstGeom prst="rect">
            <a:avLst/>
          </a:prstGeom>
        </p:spPr>
        <p:txBody>
          <a:bodyPr vert="horz" wrap="square" lIns="0" tIns="1270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60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en-IN" sz="3600" spc="165" dirty="0"/>
              <a:t>Available</a:t>
            </a:r>
            <a:r>
              <a:rPr lang="en-IN" sz="3600" spc="-65" dirty="0"/>
              <a:t> </a:t>
            </a:r>
            <a:r>
              <a:rPr lang="en-IN" sz="3600" spc="210" dirty="0"/>
              <a:t>Configurations</a:t>
            </a:r>
            <a:r>
              <a:rPr lang="en-IN" sz="3600" spc="-90" dirty="0"/>
              <a:t> </a:t>
            </a:r>
            <a:r>
              <a:rPr lang="en-IN" sz="3600" dirty="0"/>
              <a:t>–</a:t>
            </a:r>
            <a:r>
              <a:rPr lang="en-IN" sz="3600" spc="-75" dirty="0"/>
              <a:t> </a:t>
            </a:r>
            <a:r>
              <a:rPr lang="en-IN" sz="3600" spc="195" dirty="0"/>
              <a:t>Home</a:t>
            </a:r>
            <a:r>
              <a:rPr lang="en-IN" sz="3600" spc="-70" dirty="0"/>
              <a:t> </a:t>
            </a:r>
            <a:r>
              <a:rPr lang="en-IN" sz="3600" dirty="0"/>
              <a:t>–</a:t>
            </a:r>
            <a:r>
              <a:rPr lang="en-IN" sz="3600" spc="-70" dirty="0"/>
              <a:t> </a:t>
            </a:r>
            <a:r>
              <a:rPr lang="en-IN" sz="3600" spc="195" dirty="0"/>
              <a:t>Countdown</a:t>
            </a:r>
            <a:r>
              <a:rPr lang="en-IN" sz="3600" spc="-70" dirty="0"/>
              <a:t> </a:t>
            </a:r>
            <a:r>
              <a:rPr lang="en-IN" sz="3600" spc="175" dirty="0"/>
              <a:t>Timer</a:t>
            </a:r>
          </a:p>
        </p:txBody>
      </p:sp>
      <p:sp>
        <p:nvSpPr>
          <p:cNvPr id="5" name="object 3"/>
          <p:cNvSpPr/>
          <p:nvPr/>
        </p:nvSpPr>
        <p:spPr>
          <a:xfrm>
            <a:off x="1209240" y="1621905"/>
            <a:ext cx="9966960" cy="0"/>
          </a:xfrm>
          <a:custGeom>
            <a:avLst/>
            <a:gdLst/>
            <a:ahLst/>
            <a:cxnLst/>
            <a:rect l="l" t="t" r="r" b="b"/>
            <a:pathLst>
              <a:path w="9966960">
                <a:moveTo>
                  <a:pt x="0" y="0"/>
                </a:moveTo>
                <a:lnTo>
                  <a:pt x="9966960" y="1"/>
                </a:lnTo>
              </a:path>
            </a:pathLst>
          </a:custGeom>
          <a:ln w="76200">
            <a:solidFill>
              <a:srgbClr val="FFBC0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6" name="objec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6424255"/>
              </p:ext>
            </p:extLst>
          </p:nvPr>
        </p:nvGraphicFramePr>
        <p:xfrm>
          <a:off x="1198764" y="2303999"/>
          <a:ext cx="10622278" cy="344042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269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73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601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772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1206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99109">
                <a:tc>
                  <a:txBody>
                    <a:bodyPr/>
                    <a:lstStyle/>
                    <a:p>
                      <a:pPr marL="95250">
                        <a:lnSpc>
                          <a:spcPct val="100000"/>
                        </a:lnSpc>
                        <a:spcBef>
                          <a:spcPts val="515"/>
                        </a:spcBef>
                      </a:pPr>
                      <a:r>
                        <a:rPr sz="1200" b="1" spc="70" dirty="0">
                          <a:solidFill>
                            <a:srgbClr val="111111"/>
                          </a:solidFill>
                          <a:latin typeface="Calibri"/>
                          <a:cs typeface="Calibri"/>
                        </a:rPr>
                        <a:t>Configuration</a:t>
                      </a:r>
                      <a:r>
                        <a:rPr sz="1200" b="1" spc="-5" dirty="0">
                          <a:solidFill>
                            <a:srgbClr val="11111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60" dirty="0">
                          <a:solidFill>
                            <a:srgbClr val="111111"/>
                          </a:solidFill>
                          <a:latin typeface="Calibri"/>
                          <a:cs typeface="Calibri"/>
                        </a:rPr>
                        <a:t>Key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540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  <a:solidFill>
                      <a:srgbClr val="F4F5F7"/>
                    </a:solidFill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15"/>
                        </a:spcBef>
                      </a:pPr>
                      <a:r>
                        <a:rPr sz="1200" b="1" spc="70" dirty="0">
                          <a:solidFill>
                            <a:srgbClr val="111111"/>
                          </a:solidFill>
                          <a:latin typeface="Calibri"/>
                          <a:cs typeface="Calibri"/>
                        </a:rPr>
                        <a:t>Configuration</a:t>
                      </a:r>
                      <a:r>
                        <a:rPr sz="1200" b="1" spc="-5" dirty="0">
                          <a:solidFill>
                            <a:srgbClr val="11111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55" dirty="0">
                          <a:solidFill>
                            <a:srgbClr val="111111"/>
                          </a:solidFill>
                          <a:latin typeface="Calibri"/>
                          <a:cs typeface="Calibri"/>
                        </a:rPr>
                        <a:t>Type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540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  <a:solidFill>
                      <a:srgbClr val="F4F5F7"/>
                    </a:solidFill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15"/>
                        </a:spcBef>
                      </a:pPr>
                      <a:r>
                        <a:rPr sz="1200" b="1" spc="55" dirty="0">
                          <a:solidFill>
                            <a:srgbClr val="111111"/>
                          </a:solidFill>
                          <a:latin typeface="Calibri"/>
                          <a:cs typeface="Calibri"/>
                        </a:rPr>
                        <a:t>Format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540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  <a:solidFill>
                      <a:srgbClr val="F4F5F7"/>
                    </a:solidFill>
                  </a:tcPr>
                </a:tc>
                <a:tc>
                  <a:txBody>
                    <a:bodyPr/>
                    <a:lstStyle/>
                    <a:p>
                      <a:pPr marL="94615" marR="144780">
                        <a:lnSpc>
                          <a:spcPts val="1420"/>
                        </a:lnSpc>
                        <a:spcBef>
                          <a:spcPts val="580"/>
                        </a:spcBef>
                      </a:pPr>
                      <a:r>
                        <a:rPr sz="1200" b="1" spc="50" dirty="0">
                          <a:solidFill>
                            <a:srgbClr val="111111"/>
                          </a:solidFill>
                          <a:latin typeface="Calibri"/>
                          <a:cs typeface="Calibri"/>
                        </a:rPr>
                        <a:t>Default Value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7366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  <a:solidFill>
                      <a:srgbClr val="F4F5F7"/>
                    </a:solidFill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15"/>
                        </a:spcBef>
                      </a:pPr>
                      <a:r>
                        <a:rPr sz="1200" b="1" spc="60" dirty="0">
                          <a:solidFill>
                            <a:srgbClr val="111111"/>
                          </a:solidFill>
                          <a:latin typeface="Calibri"/>
                          <a:cs typeface="Calibri"/>
                        </a:rPr>
                        <a:t>Description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6540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  <a:solidFill>
                      <a:srgbClr val="F4F5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0220">
                <a:tc>
                  <a:txBody>
                    <a:bodyPr/>
                    <a:lstStyle/>
                    <a:p>
                      <a:pPr marL="95250" marR="137160">
                        <a:lnSpc>
                          <a:spcPts val="1300"/>
                        </a:lnSpc>
                        <a:spcBef>
                          <a:spcPts val="585"/>
                        </a:spcBef>
                      </a:pPr>
                      <a:r>
                        <a:rPr sz="1100" spc="40" dirty="0">
                          <a:latin typeface="Calibri"/>
                          <a:cs typeface="Calibri"/>
                        </a:rPr>
                        <a:t>news_countdown_timestam </a:t>
                      </a:r>
                      <a:r>
                        <a:rPr sz="1100" spc="5" dirty="0">
                          <a:latin typeface="Calibri"/>
                          <a:cs typeface="Calibri"/>
                        </a:rPr>
                        <a:t>p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7429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100" spc="55" dirty="0">
                          <a:latin typeface="Calibri"/>
                          <a:cs typeface="Calibri"/>
                        </a:rPr>
                        <a:t>String</a:t>
                      </a:r>
                      <a:r>
                        <a:rPr sz="1100" spc="9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(Text</a:t>
                      </a:r>
                      <a:r>
                        <a:rPr sz="1100" spc="1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-10" dirty="0">
                          <a:latin typeface="Calibri"/>
                          <a:cs typeface="Calibri"/>
                        </a:rPr>
                        <a:t>Field)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667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100" spc="55" dirty="0">
                          <a:latin typeface="Calibri"/>
                          <a:cs typeface="Calibri"/>
                        </a:rPr>
                        <a:t>Timestamp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667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100" spc="-25" dirty="0">
                          <a:latin typeface="Calibri"/>
                          <a:cs typeface="Calibri"/>
                        </a:rPr>
                        <a:t>N/A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667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100" spc="55" dirty="0">
                          <a:latin typeface="Calibri"/>
                          <a:cs typeface="Calibri"/>
                        </a:rPr>
                        <a:t>Countdown</a:t>
                      </a:r>
                      <a:r>
                        <a:rPr sz="1100" spc="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Timer</a:t>
                      </a:r>
                      <a:r>
                        <a:rPr sz="1100" spc="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80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100" spc="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65" dirty="0">
                          <a:latin typeface="Calibri"/>
                          <a:cs typeface="Calibri"/>
                        </a:rPr>
                        <a:t>Timestamp</a:t>
                      </a:r>
                      <a:r>
                        <a:rPr sz="1100" spc="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(e.g:</a:t>
                      </a:r>
                      <a:r>
                        <a:rPr sz="11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2023-</a:t>
                      </a:r>
                      <a:r>
                        <a:rPr sz="1100" spc="-10" dirty="0">
                          <a:latin typeface="Calibri"/>
                          <a:cs typeface="Calibri"/>
                        </a:rPr>
                        <a:t>12-30T09:00:00Z)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667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0220">
                <a:tc>
                  <a:txBody>
                    <a:bodyPr/>
                    <a:lstStyle/>
                    <a:p>
                      <a:pPr marL="95250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100" spc="-10" dirty="0">
                          <a:latin typeface="Calibri"/>
                          <a:cs typeface="Calibri"/>
                        </a:rPr>
                        <a:t>news_countdown_fontColor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31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100" spc="55" dirty="0">
                          <a:latin typeface="Calibri"/>
                          <a:cs typeface="Calibri"/>
                        </a:rPr>
                        <a:t>String</a:t>
                      </a:r>
                      <a:r>
                        <a:rPr sz="1100" spc="9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(Text</a:t>
                      </a:r>
                      <a:r>
                        <a:rPr sz="1100" spc="1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-10" dirty="0">
                          <a:latin typeface="Calibri"/>
                          <a:cs typeface="Calibri"/>
                        </a:rPr>
                        <a:t>Field)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31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100" dirty="0">
                          <a:latin typeface="Calibri"/>
                          <a:cs typeface="Calibri"/>
                        </a:rPr>
                        <a:t>Colour</a:t>
                      </a:r>
                      <a:r>
                        <a:rPr sz="1100" spc="1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-70" dirty="0">
                          <a:latin typeface="Calibri"/>
                          <a:cs typeface="Calibri"/>
                        </a:rPr>
                        <a:t>/</a:t>
                      </a:r>
                      <a:r>
                        <a:rPr sz="1100" spc="1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40" dirty="0">
                          <a:latin typeface="Calibri"/>
                          <a:cs typeface="Calibri"/>
                        </a:rPr>
                        <a:t>Hex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31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100" spc="40" dirty="0">
                          <a:latin typeface="Calibri"/>
                          <a:cs typeface="Calibri"/>
                        </a:rPr>
                        <a:t>Red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31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100" spc="55" dirty="0">
                          <a:latin typeface="Calibri"/>
                          <a:cs typeface="Calibri"/>
                        </a:rPr>
                        <a:t>Countdown</a:t>
                      </a:r>
                      <a:r>
                        <a:rPr sz="11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Timer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80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5" dirty="0">
                          <a:latin typeface="Calibri"/>
                          <a:cs typeface="Calibri"/>
                        </a:rPr>
                        <a:t>Font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Color</a:t>
                      </a:r>
                      <a:r>
                        <a:rPr sz="11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(e.g:</a:t>
                      </a:r>
                      <a:r>
                        <a:rPr sz="11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5" dirty="0">
                          <a:latin typeface="Calibri"/>
                          <a:cs typeface="Calibri"/>
                        </a:rPr>
                        <a:t>'Red'</a:t>
                      </a:r>
                      <a:r>
                        <a:rPr sz="11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or</a:t>
                      </a:r>
                      <a:r>
                        <a:rPr sz="11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70" dirty="0">
                          <a:latin typeface="Calibri"/>
                          <a:cs typeface="Calibri"/>
                        </a:rPr>
                        <a:t>'FFFFFF')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31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0220">
                <a:tc>
                  <a:txBody>
                    <a:bodyPr/>
                    <a:lstStyle/>
                    <a:p>
                      <a:pPr marL="95250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100" spc="40" dirty="0">
                          <a:latin typeface="Calibri"/>
                          <a:cs typeface="Calibri"/>
                        </a:rPr>
                        <a:t>news_countdown_showDays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31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100" dirty="0">
                          <a:latin typeface="Calibri"/>
                          <a:cs typeface="Calibri"/>
                        </a:rPr>
                        <a:t>Boolean</a:t>
                      </a:r>
                      <a:r>
                        <a:rPr sz="1100" spc="1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5" dirty="0">
                          <a:latin typeface="Calibri"/>
                          <a:cs typeface="Calibri"/>
                        </a:rPr>
                        <a:t>(Toggle</a:t>
                      </a:r>
                      <a:r>
                        <a:rPr sz="1100" spc="1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45" dirty="0">
                          <a:latin typeface="Calibri"/>
                          <a:cs typeface="Calibri"/>
                        </a:rPr>
                        <a:t>Switch)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31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100" dirty="0">
                          <a:latin typeface="Calibri"/>
                          <a:cs typeface="Calibri"/>
                        </a:rPr>
                        <a:t>True</a:t>
                      </a:r>
                      <a:r>
                        <a:rPr sz="1100" spc="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-75" dirty="0">
                          <a:latin typeface="Calibri"/>
                          <a:cs typeface="Calibri"/>
                        </a:rPr>
                        <a:t>/</a:t>
                      </a:r>
                      <a:r>
                        <a:rPr sz="1100" spc="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False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31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100" spc="50" dirty="0">
                          <a:latin typeface="Calibri"/>
                          <a:cs typeface="Calibri"/>
                        </a:rPr>
                        <a:t>False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31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100" spc="55" dirty="0">
                          <a:latin typeface="Calibri"/>
                          <a:cs typeface="Calibri"/>
                        </a:rPr>
                        <a:t>Countdown</a:t>
                      </a:r>
                      <a:r>
                        <a:rPr sz="11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Timer</a:t>
                      </a:r>
                      <a:r>
                        <a:rPr sz="11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80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1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70" dirty="0">
                          <a:latin typeface="Calibri"/>
                          <a:cs typeface="Calibri"/>
                        </a:rPr>
                        <a:t>Show</a:t>
                      </a:r>
                      <a:r>
                        <a:rPr sz="11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Days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31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0220">
                <a:tc>
                  <a:txBody>
                    <a:bodyPr/>
                    <a:lstStyle/>
                    <a:p>
                      <a:pPr marL="95250" marR="98425">
                        <a:lnSpc>
                          <a:spcPts val="1300"/>
                        </a:lnSpc>
                        <a:spcBef>
                          <a:spcPts val="595"/>
                        </a:spcBef>
                      </a:pPr>
                      <a:r>
                        <a:rPr sz="1100" spc="-10" dirty="0">
                          <a:latin typeface="Calibri"/>
                          <a:cs typeface="Calibri"/>
                        </a:rPr>
                        <a:t>news_countdown_showHour</a:t>
                      </a:r>
                      <a:r>
                        <a:rPr sz="1100" spc="50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100" spc="55" dirty="0">
                          <a:latin typeface="Calibri"/>
                          <a:cs typeface="Calibri"/>
                        </a:rPr>
                        <a:t>s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7556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5"/>
                        </a:spcBef>
                      </a:pPr>
                      <a:r>
                        <a:rPr sz="1100" dirty="0">
                          <a:latin typeface="Calibri"/>
                          <a:cs typeface="Calibri"/>
                        </a:rPr>
                        <a:t>Boolean</a:t>
                      </a:r>
                      <a:r>
                        <a:rPr sz="1100" spc="1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5" dirty="0">
                          <a:latin typeface="Calibri"/>
                          <a:cs typeface="Calibri"/>
                        </a:rPr>
                        <a:t>(Toggle</a:t>
                      </a:r>
                      <a:r>
                        <a:rPr sz="1100" spc="1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45" dirty="0">
                          <a:latin typeface="Calibri"/>
                          <a:cs typeface="Calibri"/>
                        </a:rPr>
                        <a:t>Switch)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94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5"/>
                        </a:spcBef>
                      </a:pPr>
                      <a:r>
                        <a:rPr sz="1100" dirty="0">
                          <a:latin typeface="Calibri"/>
                          <a:cs typeface="Calibri"/>
                        </a:rPr>
                        <a:t>True</a:t>
                      </a:r>
                      <a:r>
                        <a:rPr sz="1100" spc="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-75" dirty="0">
                          <a:latin typeface="Calibri"/>
                          <a:cs typeface="Calibri"/>
                        </a:rPr>
                        <a:t>/</a:t>
                      </a:r>
                      <a:r>
                        <a:rPr sz="1100" spc="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False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94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5"/>
                        </a:spcBef>
                      </a:pPr>
                      <a:r>
                        <a:rPr sz="1100" spc="50" dirty="0">
                          <a:latin typeface="Calibri"/>
                          <a:cs typeface="Calibri"/>
                        </a:rPr>
                        <a:t>False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94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5"/>
                        </a:spcBef>
                      </a:pPr>
                      <a:r>
                        <a:rPr sz="1100" spc="55" dirty="0">
                          <a:latin typeface="Calibri"/>
                          <a:cs typeface="Calibri"/>
                        </a:rPr>
                        <a:t>Countdown</a:t>
                      </a:r>
                      <a:r>
                        <a:rPr sz="11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Timer</a:t>
                      </a:r>
                      <a:r>
                        <a:rPr sz="11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80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1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70" dirty="0">
                          <a:latin typeface="Calibri"/>
                          <a:cs typeface="Calibri"/>
                        </a:rPr>
                        <a:t>Show</a:t>
                      </a:r>
                      <a:r>
                        <a:rPr sz="11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30" dirty="0">
                          <a:latin typeface="Calibri"/>
                          <a:cs typeface="Calibri"/>
                        </a:rPr>
                        <a:t>Hours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94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0220">
                <a:tc>
                  <a:txBody>
                    <a:bodyPr/>
                    <a:lstStyle/>
                    <a:p>
                      <a:pPr marL="95250" marR="97155">
                        <a:lnSpc>
                          <a:spcPct val="100000"/>
                        </a:lnSpc>
                        <a:spcBef>
                          <a:spcPts val="509"/>
                        </a:spcBef>
                      </a:pPr>
                      <a:r>
                        <a:rPr sz="1100" spc="-10" dirty="0">
                          <a:latin typeface="Calibri"/>
                          <a:cs typeface="Calibri"/>
                        </a:rPr>
                        <a:t>news_countdown_showMinu</a:t>
                      </a:r>
                      <a:r>
                        <a:rPr sz="1100" spc="5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35" dirty="0">
                          <a:latin typeface="Calibri"/>
                          <a:cs typeface="Calibri"/>
                        </a:rPr>
                        <a:t>tes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09"/>
                        </a:spcBef>
                      </a:pPr>
                      <a:r>
                        <a:rPr sz="1100" dirty="0">
                          <a:latin typeface="Calibri"/>
                          <a:cs typeface="Calibri"/>
                        </a:rPr>
                        <a:t>Boolean</a:t>
                      </a:r>
                      <a:r>
                        <a:rPr sz="1100" spc="1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5" dirty="0">
                          <a:latin typeface="Calibri"/>
                          <a:cs typeface="Calibri"/>
                        </a:rPr>
                        <a:t>(Toggle</a:t>
                      </a:r>
                      <a:r>
                        <a:rPr sz="1100" spc="1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45" dirty="0">
                          <a:latin typeface="Calibri"/>
                          <a:cs typeface="Calibri"/>
                        </a:rPr>
                        <a:t>Switch)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09"/>
                        </a:spcBef>
                      </a:pPr>
                      <a:r>
                        <a:rPr sz="1100" dirty="0">
                          <a:latin typeface="Calibri"/>
                          <a:cs typeface="Calibri"/>
                        </a:rPr>
                        <a:t>True</a:t>
                      </a:r>
                      <a:r>
                        <a:rPr sz="1100" spc="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-75" dirty="0">
                          <a:latin typeface="Calibri"/>
                          <a:cs typeface="Calibri"/>
                        </a:rPr>
                        <a:t>/</a:t>
                      </a:r>
                      <a:r>
                        <a:rPr sz="1100" spc="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False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09"/>
                        </a:spcBef>
                      </a:pPr>
                      <a:r>
                        <a:rPr sz="1100" spc="50" dirty="0">
                          <a:latin typeface="Calibri"/>
                          <a:cs typeface="Calibri"/>
                        </a:rPr>
                        <a:t>False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09"/>
                        </a:spcBef>
                      </a:pPr>
                      <a:r>
                        <a:rPr sz="1100" spc="55" dirty="0">
                          <a:latin typeface="Calibri"/>
                          <a:cs typeface="Calibri"/>
                        </a:rPr>
                        <a:t>Countdown</a:t>
                      </a:r>
                      <a:r>
                        <a:rPr sz="11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Timer</a:t>
                      </a:r>
                      <a:r>
                        <a:rPr sz="11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80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1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70" dirty="0">
                          <a:latin typeface="Calibri"/>
                          <a:cs typeface="Calibri"/>
                        </a:rPr>
                        <a:t>Show</a:t>
                      </a:r>
                      <a:r>
                        <a:rPr sz="1100" spc="-10" dirty="0">
                          <a:latin typeface="Calibri"/>
                          <a:cs typeface="Calibri"/>
                        </a:rPr>
                        <a:t> Minutes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0220">
                <a:tc>
                  <a:txBody>
                    <a:bodyPr/>
                    <a:lstStyle/>
                    <a:p>
                      <a:pPr marL="95250" marR="91440">
                        <a:lnSpc>
                          <a:spcPct val="100000"/>
                        </a:lnSpc>
                        <a:spcBef>
                          <a:spcPts val="515"/>
                        </a:spcBef>
                      </a:pPr>
                      <a:r>
                        <a:rPr sz="1100" spc="45" dirty="0">
                          <a:latin typeface="Calibri"/>
                          <a:cs typeface="Calibri"/>
                        </a:rPr>
                        <a:t>news_countdown_showSeco </a:t>
                      </a:r>
                      <a:r>
                        <a:rPr sz="1100" spc="40" dirty="0">
                          <a:latin typeface="Calibri"/>
                          <a:cs typeface="Calibri"/>
                        </a:rPr>
                        <a:t>nds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540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15"/>
                        </a:spcBef>
                      </a:pPr>
                      <a:r>
                        <a:rPr sz="1100" dirty="0">
                          <a:latin typeface="Calibri"/>
                          <a:cs typeface="Calibri"/>
                        </a:rPr>
                        <a:t>Boolean</a:t>
                      </a:r>
                      <a:r>
                        <a:rPr sz="1100" spc="1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5" dirty="0">
                          <a:latin typeface="Calibri"/>
                          <a:cs typeface="Calibri"/>
                        </a:rPr>
                        <a:t>(Toggle</a:t>
                      </a:r>
                      <a:r>
                        <a:rPr sz="1100" spc="1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45" dirty="0">
                          <a:latin typeface="Calibri"/>
                          <a:cs typeface="Calibri"/>
                        </a:rPr>
                        <a:t>Switch)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540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15"/>
                        </a:spcBef>
                      </a:pPr>
                      <a:r>
                        <a:rPr sz="1100" dirty="0">
                          <a:latin typeface="Calibri"/>
                          <a:cs typeface="Calibri"/>
                        </a:rPr>
                        <a:t>True</a:t>
                      </a:r>
                      <a:r>
                        <a:rPr sz="1100" spc="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-75" dirty="0">
                          <a:latin typeface="Calibri"/>
                          <a:cs typeface="Calibri"/>
                        </a:rPr>
                        <a:t>/</a:t>
                      </a:r>
                      <a:r>
                        <a:rPr sz="1100" spc="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False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540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15"/>
                        </a:spcBef>
                      </a:pPr>
                      <a:r>
                        <a:rPr sz="1100" spc="50" dirty="0">
                          <a:latin typeface="Calibri"/>
                          <a:cs typeface="Calibri"/>
                        </a:rPr>
                        <a:t>False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540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15"/>
                        </a:spcBef>
                      </a:pPr>
                      <a:r>
                        <a:rPr sz="1100" spc="55" dirty="0">
                          <a:latin typeface="Calibri"/>
                          <a:cs typeface="Calibri"/>
                        </a:rPr>
                        <a:t>Countdown</a:t>
                      </a:r>
                      <a:r>
                        <a:rPr sz="11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Timer</a:t>
                      </a:r>
                      <a:r>
                        <a:rPr sz="11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80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1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70" dirty="0">
                          <a:latin typeface="Calibri"/>
                          <a:cs typeface="Calibri"/>
                        </a:rPr>
                        <a:t>Show</a:t>
                      </a:r>
                      <a:r>
                        <a:rPr sz="11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70" dirty="0">
                          <a:latin typeface="Calibri"/>
                          <a:cs typeface="Calibri"/>
                        </a:rPr>
                        <a:t>Seconds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6540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1692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object 2"/>
          <p:cNvSpPr txBox="1">
            <a:spLocks/>
          </p:cNvSpPr>
          <p:nvPr/>
        </p:nvSpPr>
        <p:spPr>
          <a:xfrm>
            <a:off x="2005446" y="226160"/>
            <a:ext cx="10601325" cy="566822"/>
          </a:xfrm>
          <a:prstGeom prst="rect">
            <a:avLst/>
          </a:prstGeom>
        </p:spPr>
        <p:txBody>
          <a:bodyPr vert="horz" wrap="square" lIns="0" tIns="1270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60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en-IN" sz="3600" spc="165" dirty="0"/>
              <a:t>Available</a:t>
            </a:r>
            <a:r>
              <a:rPr lang="en-IN" sz="3600" spc="-65" dirty="0"/>
              <a:t> </a:t>
            </a:r>
            <a:r>
              <a:rPr lang="en-IN" sz="3600" spc="210" dirty="0"/>
              <a:t>Configurations</a:t>
            </a:r>
            <a:r>
              <a:rPr lang="en-IN" sz="3600" spc="-90" dirty="0"/>
              <a:t> </a:t>
            </a:r>
            <a:r>
              <a:rPr lang="en-IN" sz="3600" dirty="0"/>
              <a:t>–</a:t>
            </a:r>
            <a:r>
              <a:rPr lang="en-IN" sz="3600" spc="-70" dirty="0"/>
              <a:t> </a:t>
            </a:r>
            <a:r>
              <a:rPr lang="en-IN" sz="3600" spc="190" dirty="0"/>
              <a:t>Restaurant</a:t>
            </a:r>
          </a:p>
        </p:txBody>
      </p:sp>
      <p:grpSp>
        <p:nvGrpSpPr>
          <p:cNvPr id="51" name="object 3"/>
          <p:cNvGrpSpPr/>
          <p:nvPr/>
        </p:nvGrpSpPr>
        <p:grpSpPr>
          <a:xfrm>
            <a:off x="2018146" y="1089257"/>
            <a:ext cx="7223759" cy="5361305"/>
            <a:chOff x="1066800" y="1242060"/>
            <a:chExt cx="7223759" cy="5361305"/>
          </a:xfrm>
        </p:grpSpPr>
        <p:sp>
          <p:nvSpPr>
            <p:cNvPr id="52" name="object 4"/>
            <p:cNvSpPr/>
            <p:nvPr/>
          </p:nvSpPr>
          <p:spPr>
            <a:xfrm>
              <a:off x="1066800" y="1280160"/>
              <a:ext cx="7223759" cy="0"/>
            </a:xfrm>
            <a:custGeom>
              <a:avLst/>
              <a:gdLst/>
              <a:ahLst/>
              <a:cxnLst/>
              <a:rect l="l" t="t" r="r" b="b"/>
              <a:pathLst>
                <a:path w="7223759">
                  <a:moveTo>
                    <a:pt x="0" y="0"/>
                  </a:moveTo>
                  <a:lnTo>
                    <a:pt x="7223760" y="1"/>
                  </a:lnTo>
                </a:path>
              </a:pathLst>
            </a:custGeom>
            <a:ln w="76200">
              <a:solidFill>
                <a:srgbClr val="FFBC0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3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777870" y="1352968"/>
              <a:ext cx="2636258" cy="5249983"/>
            </a:xfrm>
            <a:prstGeom prst="rect">
              <a:avLst/>
            </a:prstGeom>
          </p:spPr>
        </p:pic>
        <p:sp>
          <p:nvSpPr>
            <p:cNvPr id="54" name="object 6"/>
            <p:cNvSpPr/>
            <p:nvPr/>
          </p:nvSpPr>
          <p:spPr>
            <a:xfrm>
              <a:off x="4678678" y="2926960"/>
              <a:ext cx="99695" cy="320040"/>
            </a:xfrm>
            <a:custGeom>
              <a:avLst/>
              <a:gdLst/>
              <a:ahLst/>
              <a:cxnLst/>
              <a:rect l="l" t="t" r="r" b="b"/>
              <a:pathLst>
                <a:path w="99695" h="320039">
                  <a:moveTo>
                    <a:pt x="99191" y="320040"/>
                  </a:moveTo>
                  <a:lnTo>
                    <a:pt x="60581" y="319390"/>
                  </a:lnTo>
                  <a:lnTo>
                    <a:pt x="29052" y="317619"/>
                  </a:lnTo>
                  <a:lnTo>
                    <a:pt x="7794" y="314991"/>
                  </a:lnTo>
                  <a:lnTo>
                    <a:pt x="0" y="311774"/>
                  </a:lnTo>
                  <a:lnTo>
                    <a:pt x="0" y="8265"/>
                  </a:lnTo>
                  <a:lnTo>
                    <a:pt x="7794" y="5048"/>
                  </a:lnTo>
                  <a:lnTo>
                    <a:pt x="29052" y="2420"/>
                  </a:lnTo>
                  <a:lnTo>
                    <a:pt x="60581" y="649"/>
                  </a:lnTo>
                  <a:lnTo>
                    <a:pt x="99191" y="0"/>
                  </a:lnTo>
                </a:path>
              </a:pathLst>
            </a:custGeom>
            <a:ln w="38100">
              <a:solidFill>
                <a:srgbClr val="FFBC0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7"/>
            <p:cNvSpPr/>
            <p:nvPr/>
          </p:nvSpPr>
          <p:spPr>
            <a:xfrm>
              <a:off x="4678678" y="4041720"/>
              <a:ext cx="99695" cy="576580"/>
            </a:xfrm>
            <a:custGeom>
              <a:avLst/>
              <a:gdLst/>
              <a:ahLst/>
              <a:cxnLst/>
              <a:rect l="l" t="t" r="r" b="b"/>
              <a:pathLst>
                <a:path w="99695" h="576579">
                  <a:moveTo>
                    <a:pt x="99191" y="576000"/>
                  </a:moveTo>
                  <a:lnTo>
                    <a:pt x="60581" y="575350"/>
                  </a:lnTo>
                  <a:lnTo>
                    <a:pt x="29052" y="573578"/>
                  </a:lnTo>
                  <a:lnTo>
                    <a:pt x="7794" y="570951"/>
                  </a:lnTo>
                  <a:lnTo>
                    <a:pt x="0" y="567734"/>
                  </a:lnTo>
                  <a:lnTo>
                    <a:pt x="0" y="8265"/>
                  </a:lnTo>
                  <a:lnTo>
                    <a:pt x="7794" y="5048"/>
                  </a:lnTo>
                  <a:lnTo>
                    <a:pt x="29052" y="2421"/>
                  </a:lnTo>
                  <a:lnTo>
                    <a:pt x="60581" y="649"/>
                  </a:lnTo>
                  <a:lnTo>
                    <a:pt x="99191" y="0"/>
                  </a:lnTo>
                </a:path>
              </a:pathLst>
            </a:custGeom>
            <a:ln w="38100">
              <a:solidFill>
                <a:srgbClr val="FFBC0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8"/>
            <p:cNvSpPr/>
            <p:nvPr/>
          </p:nvSpPr>
          <p:spPr>
            <a:xfrm>
              <a:off x="7418050" y="4800599"/>
              <a:ext cx="99695" cy="1005840"/>
            </a:xfrm>
            <a:custGeom>
              <a:avLst/>
              <a:gdLst/>
              <a:ahLst/>
              <a:cxnLst/>
              <a:rect l="l" t="t" r="r" b="b"/>
              <a:pathLst>
                <a:path w="99695" h="1005839">
                  <a:moveTo>
                    <a:pt x="0" y="0"/>
                  </a:moveTo>
                  <a:lnTo>
                    <a:pt x="38609" y="649"/>
                  </a:lnTo>
                  <a:lnTo>
                    <a:pt x="70138" y="2421"/>
                  </a:lnTo>
                  <a:lnTo>
                    <a:pt x="91396" y="5048"/>
                  </a:lnTo>
                  <a:lnTo>
                    <a:pt x="99191" y="8265"/>
                  </a:lnTo>
                  <a:lnTo>
                    <a:pt x="99191" y="997574"/>
                  </a:lnTo>
                  <a:lnTo>
                    <a:pt x="91396" y="1000791"/>
                  </a:lnTo>
                  <a:lnTo>
                    <a:pt x="70138" y="1003419"/>
                  </a:lnTo>
                  <a:lnTo>
                    <a:pt x="38609" y="1005190"/>
                  </a:lnTo>
                  <a:lnTo>
                    <a:pt x="0" y="1005840"/>
                  </a:lnTo>
                </a:path>
              </a:pathLst>
            </a:custGeom>
            <a:ln w="38100">
              <a:solidFill>
                <a:srgbClr val="FFBC0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9"/>
            <p:cNvSpPr/>
            <p:nvPr/>
          </p:nvSpPr>
          <p:spPr>
            <a:xfrm>
              <a:off x="7421881" y="3428999"/>
              <a:ext cx="99695" cy="576580"/>
            </a:xfrm>
            <a:custGeom>
              <a:avLst/>
              <a:gdLst/>
              <a:ahLst/>
              <a:cxnLst/>
              <a:rect l="l" t="t" r="r" b="b"/>
              <a:pathLst>
                <a:path w="99695" h="576579">
                  <a:moveTo>
                    <a:pt x="0" y="0"/>
                  </a:moveTo>
                  <a:lnTo>
                    <a:pt x="38609" y="649"/>
                  </a:lnTo>
                  <a:lnTo>
                    <a:pt x="70138" y="2421"/>
                  </a:lnTo>
                  <a:lnTo>
                    <a:pt x="91396" y="5048"/>
                  </a:lnTo>
                  <a:lnTo>
                    <a:pt x="99191" y="8265"/>
                  </a:lnTo>
                  <a:lnTo>
                    <a:pt x="99191" y="567734"/>
                  </a:lnTo>
                  <a:lnTo>
                    <a:pt x="91396" y="570951"/>
                  </a:lnTo>
                  <a:lnTo>
                    <a:pt x="70138" y="573579"/>
                  </a:lnTo>
                  <a:lnTo>
                    <a:pt x="38609" y="575350"/>
                  </a:lnTo>
                  <a:lnTo>
                    <a:pt x="0" y="576000"/>
                  </a:lnTo>
                </a:path>
              </a:pathLst>
            </a:custGeom>
            <a:ln w="38100">
              <a:solidFill>
                <a:srgbClr val="FFBC0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10"/>
            <p:cNvSpPr/>
            <p:nvPr/>
          </p:nvSpPr>
          <p:spPr>
            <a:xfrm>
              <a:off x="4492932" y="3086980"/>
              <a:ext cx="186055" cy="0"/>
            </a:xfrm>
            <a:custGeom>
              <a:avLst/>
              <a:gdLst/>
              <a:ahLst/>
              <a:cxnLst/>
              <a:rect l="l" t="t" r="r" b="b"/>
              <a:pathLst>
                <a:path w="186054">
                  <a:moveTo>
                    <a:pt x="185746" y="0"/>
                  </a:moveTo>
                  <a:lnTo>
                    <a:pt x="0" y="1"/>
                  </a:lnTo>
                </a:path>
              </a:pathLst>
            </a:custGeom>
            <a:ln w="38100">
              <a:solidFill>
                <a:srgbClr val="FFBC0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11"/>
            <p:cNvSpPr/>
            <p:nvPr/>
          </p:nvSpPr>
          <p:spPr>
            <a:xfrm>
              <a:off x="4495800" y="4343400"/>
              <a:ext cx="186055" cy="0"/>
            </a:xfrm>
            <a:custGeom>
              <a:avLst/>
              <a:gdLst/>
              <a:ahLst/>
              <a:cxnLst/>
              <a:rect l="l" t="t" r="r" b="b"/>
              <a:pathLst>
                <a:path w="186054">
                  <a:moveTo>
                    <a:pt x="185746" y="0"/>
                  </a:moveTo>
                  <a:lnTo>
                    <a:pt x="0" y="1"/>
                  </a:lnTo>
                </a:path>
              </a:pathLst>
            </a:custGeom>
            <a:ln w="38100">
              <a:solidFill>
                <a:srgbClr val="FFBC0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12"/>
            <p:cNvSpPr/>
            <p:nvPr/>
          </p:nvSpPr>
          <p:spPr>
            <a:xfrm>
              <a:off x="7513319" y="3703320"/>
              <a:ext cx="186055" cy="0"/>
            </a:xfrm>
            <a:custGeom>
              <a:avLst/>
              <a:gdLst/>
              <a:ahLst/>
              <a:cxnLst/>
              <a:rect l="l" t="t" r="r" b="b"/>
              <a:pathLst>
                <a:path w="186054">
                  <a:moveTo>
                    <a:pt x="185746" y="0"/>
                  </a:moveTo>
                  <a:lnTo>
                    <a:pt x="0" y="1"/>
                  </a:lnTo>
                </a:path>
              </a:pathLst>
            </a:custGeom>
            <a:ln w="38100">
              <a:solidFill>
                <a:srgbClr val="FFBC0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13"/>
            <p:cNvSpPr/>
            <p:nvPr/>
          </p:nvSpPr>
          <p:spPr>
            <a:xfrm>
              <a:off x="7513319" y="5257800"/>
              <a:ext cx="186055" cy="0"/>
            </a:xfrm>
            <a:custGeom>
              <a:avLst/>
              <a:gdLst/>
              <a:ahLst/>
              <a:cxnLst/>
              <a:rect l="l" t="t" r="r" b="b"/>
              <a:pathLst>
                <a:path w="186054">
                  <a:moveTo>
                    <a:pt x="185746" y="0"/>
                  </a:moveTo>
                  <a:lnTo>
                    <a:pt x="0" y="1"/>
                  </a:lnTo>
                </a:path>
              </a:pathLst>
            </a:custGeom>
            <a:ln w="38100">
              <a:solidFill>
                <a:srgbClr val="FFBC0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2" name="object 14"/>
          <p:cNvSpPr txBox="1"/>
          <p:nvPr/>
        </p:nvSpPr>
        <p:spPr>
          <a:xfrm>
            <a:off x="3169248" y="2839825"/>
            <a:ext cx="21964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Calibri"/>
                <a:cs typeface="Calibri"/>
              </a:rPr>
              <a:t>restaurant_hideDirectionButton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65" name="object 15"/>
          <p:cNvSpPr txBox="1"/>
          <p:nvPr/>
        </p:nvSpPr>
        <p:spPr>
          <a:xfrm>
            <a:off x="3713452" y="4083408"/>
            <a:ext cx="16554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Calibri"/>
                <a:cs typeface="Calibri"/>
              </a:rPr>
              <a:t>restaurant_hideContact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66" name="object 16"/>
          <p:cNvSpPr txBox="1"/>
          <p:nvPr/>
        </p:nvSpPr>
        <p:spPr>
          <a:xfrm>
            <a:off x="8726286" y="5000856"/>
            <a:ext cx="17100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Calibri"/>
                <a:cs typeface="Calibri"/>
              </a:rPr>
              <a:t>restaurant_hideFacilities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67" name="object 17"/>
          <p:cNvSpPr txBox="1"/>
          <p:nvPr/>
        </p:nvSpPr>
        <p:spPr>
          <a:xfrm>
            <a:off x="8726286" y="3431137"/>
            <a:ext cx="18846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Calibri"/>
                <a:cs typeface="Calibri"/>
              </a:rPr>
              <a:t>restaurant_hideOpenHours</a:t>
            </a:r>
            <a:endParaRPr sz="120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54995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"/>
          <p:cNvSpPr txBox="1">
            <a:spLocks/>
          </p:cNvSpPr>
          <p:nvPr/>
        </p:nvSpPr>
        <p:spPr>
          <a:xfrm>
            <a:off x="1590675" y="716314"/>
            <a:ext cx="10601325" cy="513080"/>
          </a:xfrm>
          <a:prstGeom prst="rect">
            <a:avLst/>
          </a:prstGeom>
        </p:spPr>
        <p:txBody>
          <a:bodyPr vert="horz" wrap="square" lIns="0" tIns="1270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60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en-IN" spc="165" dirty="0"/>
              <a:t>Available</a:t>
            </a:r>
            <a:r>
              <a:rPr lang="en-IN" spc="-65" dirty="0"/>
              <a:t> </a:t>
            </a:r>
            <a:r>
              <a:rPr lang="en-IN" spc="210" dirty="0"/>
              <a:t>Configurations</a:t>
            </a:r>
            <a:r>
              <a:rPr lang="en-IN" spc="-90" dirty="0"/>
              <a:t> </a:t>
            </a:r>
            <a:r>
              <a:rPr lang="en-IN" dirty="0"/>
              <a:t>–</a:t>
            </a:r>
            <a:r>
              <a:rPr lang="en-IN" spc="-70" dirty="0"/>
              <a:t> </a:t>
            </a:r>
            <a:r>
              <a:rPr lang="en-IN" spc="190" dirty="0"/>
              <a:t>Restaurant</a:t>
            </a:r>
          </a:p>
        </p:txBody>
      </p:sp>
      <p:sp>
        <p:nvSpPr>
          <p:cNvPr id="8" name="object 3"/>
          <p:cNvSpPr/>
          <p:nvPr/>
        </p:nvSpPr>
        <p:spPr>
          <a:xfrm>
            <a:off x="1657927" y="1843566"/>
            <a:ext cx="7223759" cy="0"/>
          </a:xfrm>
          <a:custGeom>
            <a:avLst/>
            <a:gdLst/>
            <a:ahLst/>
            <a:cxnLst/>
            <a:rect l="l" t="t" r="r" b="b"/>
            <a:pathLst>
              <a:path w="7223759">
                <a:moveTo>
                  <a:pt x="0" y="0"/>
                </a:moveTo>
                <a:lnTo>
                  <a:pt x="7223760" y="1"/>
                </a:lnTo>
              </a:path>
            </a:pathLst>
          </a:custGeom>
          <a:ln w="76200">
            <a:solidFill>
              <a:srgbClr val="FFBC0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9" name="objec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7934953"/>
              </p:ext>
            </p:extLst>
          </p:nvPr>
        </p:nvGraphicFramePr>
        <p:xfrm>
          <a:off x="1371224" y="2267041"/>
          <a:ext cx="10622278" cy="245998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269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73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601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772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1206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99109">
                <a:tc>
                  <a:txBody>
                    <a:bodyPr/>
                    <a:lstStyle/>
                    <a:p>
                      <a:pPr marL="95250">
                        <a:lnSpc>
                          <a:spcPct val="100000"/>
                        </a:lnSpc>
                        <a:spcBef>
                          <a:spcPts val="515"/>
                        </a:spcBef>
                      </a:pPr>
                      <a:r>
                        <a:rPr sz="1200" b="1" spc="70" dirty="0">
                          <a:solidFill>
                            <a:srgbClr val="111111"/>
                          </a:solidFill>
                          <a:latin typeface="Calibri"/>
                          <a:cs typeface="Calibri"/>
                        </a:rPr>
                        <a:t>Configuration</a:t>
                      </a:r>
                      <a:r>
                        <a:rPr sz="1200" b="1" spc="-5" dirty="0">
                          <a:solidFill>
                            <a:srgbClr val="11111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60" dirty="0">
                          <a:solidFill>
                            <a:srgbClr val="111111"/>
                          </a:solidFill>
                          <a:latin typeface="Calibri"/>
                          <a:cs typeface="Calibri"/>
                        </a:rPr>
                        <a:t>Key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540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  <a:solidFill>
                      <a:srgbClr val="F4F5F7"/>
                    </a:solidFill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15"/>
                        </a:spcBef>
                      </a:pPr>
                      <a:r>
                        <a:rPr sz="1200" b="1" spc="70" dirty="0">
                          <a:solidFill>
                            <a:srgbClr val="111111"/>
                          </a:solidFill>
                          <a:latin typeface="Calibri"/>
                          <a:cs typeface="Calibri"/>
                        </a:rPr>
                        <a:t>Configuration</a:t>
                      </a:r>
                      <a:r>
                        <a:rPr sz="1200" b="1" spc="-5" dirty="0">
                          <a:solidFill>
                            <a:srgbClr val="11111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55" dirty="0">
                          <a:solidFill>
                            <a:srgbClr val="111111"/>
                          </a:solidFill>
                          <a:latin typeface="Calibri"/>
                          <a:cs typeface="Calibri"/>
                        </a:rPr>
                        <a:t>Type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540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  <a:solidFill>
                      <a:srgbClr val="F4F5F7"/>
                    </a:solidFill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15"/>
                        </a:spcBef>
                      </a:pPr>
                      <a:r>
                        <a:rPr sz="1200" b="1" spc="55" dirty="0">
                          <a:solidFill>
                            <a:srgbClr val="111111"/>
                          </a:solidFill>
                          <a:latin typeface="Calibri"/>
                          <a:cs typeface="Calibri"/>
                        </a:rPr>
                        <a:t>Format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540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  <a:solidFill>
                      <a:srgbClr val="F4F5F7"/>
                    </a:solidFill>
                  </a:tcPr>
                </a:tc>
                <a:tc>
                  <a:txBody>
                    <a:bodyPr/>
                    <a:lstStyle/>
                    <a:p>
                      <a:pPr marL="94615" marR="144780">
                        <a:lnSpc>
                          <a:spcPts val="1420"/>
                        </a:lnSpc>
                        <a:spcBef>
                          <a:spcPts val="580"/>
                        </a:spcBef>
                      </a:pPr>
                      <a:r>
                        <a:rPr sz="1200" b="1" spc="50" dirty="0">
                          <a:solidFill>
                            <a:srgbClr val="111111"/>
                          </a:solidFill>
                          <a:latin typeface="Calibri"/>
                          <a:cs typeface="Calibri"/>
                        </a:rPr>
                        <a:t>Default Value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7366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  <a:solidFill>
                      <a:srgbClr val="F4F5F7"/>
                    </a:solidFill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15"/>
                        </a:spcBef>
                      </a:pPr>
                      <a:r>
                        <a:rPr sz="1200" b="1" spc="60" dirty="0">
                          <a:solidFill>
                            <a:srgbClr val="111111"/>
                          </a:solidFill>
                          <a:latin typeface="Calibri"/>
                          <a:cs typeface="Calibri"/>
                        </a:rPr>
                        <a:t>Description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540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  <a:solidFill>
                      <a:srgbClr val="F4F5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0220">
                <a:tc>
                  <a:txBody>
                    <a:bodyPr/>
                    <a:lstStyle/>
                    <a:p>
                      <a:pPr marL="95250" marR="89535">
                        <a:lnSpc>
                          <a:spcPts val="1300"/>
                        </a:lnSpc>
                        <a:spcBef>
                          <a:spcPts val="585"/>
                        </a:spcBef>
                      </a:pPr>
                      <a:r>
                        <a:rPr sz="1100" spc="-10" dirty="0">
                          <a:latin typeface="Calibri"/>
                          <a:cs typeface="Calibri"/>
                        </a:rPr>
                        <a:t>restaurant_hideDirectionButt</a:t>
                      </a:r>
                      <a:r>
                        <a:rPr sz="1100" spc="5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-25" dirty="0">
                          <a:latin typeface="Calibri"/>
                          <a:cs typeface="Calibri"/>
                        </a:rPr>
                        <a:t>on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7429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100" dirty="0">
                          <a:latin typeface="Calibri"/>
                          <a:cs typeface="Calibri"/>
                        </a:rPr>
                        <a:t>Boolean</a:t>
                      </a:r>
                      <a:r>
                        <a:rPr sz="1100" spc="1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5" dirty="0">
                          <a:latin typeface="Calibri"/>
                          <a:cs typeface="Calibri"/>
                        </a:rPr>
                        <a:t>(Toggle</a:t>
                      </a:r>
                      <a:r>
                        <a:rPr sz="1100" spc="1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45" dirty="0">
                          <a:latin typeface="Calibri"/>
                          <a:cs typeface="Calibri"/>
                        </a:rPr>
                        <a:t>Switch)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667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100" dirty="0">
                          <a:latin typeface="Calibri"/>
                          <a:cs typeface="Calibri"/>
                        </a:rPr>
                        <a:t>True</a:t>
                      </a:r>
                      <a:r>
                        <a:rPr sz="1100" spc="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-75" dirty="0">
                          <a:latin typeface="Calibri"/>
                          <a:cs typeface="Calibri"/>
                        </a:rPr>
                        <a:t>/</a:t>
                      </a:r>
                      <a:r>
                        <a:rPr sz="1100" spc="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False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667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100" spc="50" dirty="0">
                          <a:latin typeface="Calibri"/>
                          <a:cs typeface="Calibri"/>
                        </a:rPr>
                        <a:t>False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667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25"/>
                        </a:spcBef>
                      </a:pPr>
                      <a:r>
                        <a:rPr sz="1100" spc="50" dirty="0">
                          <a:latin typeface="Calibri"/>
                          <a:cs typeface="Calibri"/>
                        </a:rPr>
                        <a:t>Hide</a:t>
                      </a:r>
                      <a:r>
                        <a:rPr sz="1100" spc="10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100" spc="1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'Get</a:t>
                      </a:r>
                      <a:r>
                        <a:rPr sz="1100" spc="1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Directions'</a:t>
                      </a:r>
                      <a:r>
                        <a:rPr sz="1100" spc="1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button</a:t>
                      </a:r>
                      <a:r>
                        <a:rPr sz="1100" spc="1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on</a:t>
                      </a:r>
                      <a:r>
                        <a:rPr sz="1100" spc="1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100" spc="1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restaurant</a:t>
                      </a:r>
                      <a:r>
                        <a:rPr sz="1100" spc="1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details</a:t>
                      </a:r>
                      <a:r>
                        <a:rPr sz="1100" spc="1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-20" dirty="0">
                          <a:latin typeface="Calibri"/>
                          <a:cs typeface="Calibri"/>
                        </a:rPr>
                        <a:t>view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667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0220">
                <a:tc>
                  <a:txBody>
                    <a:bodyPr/>
                    <a:lstStyle/>
                    <a:p>
                      <a:pPr marL="95250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100" spc="-10" dirty="0">
                          <a:latin typeface="Calibri"/>
                          <a:cs typeface="Calibri"/>
                        </a:rPr>
                        <a:t>restaurant_hideContact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31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100" dirty="0">
                          <a:latin typeface="Calibri"/>
                          <a:cs typeface="Calibri"/>
                        </a:rPr>
                        <a:t>Boolean</a:t>
                      </a:r>
                      <a:r>
                        <a:rPr sz="1100" spc="1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5" dirty="0">
                          <a:latin typeface="Calibri"/>
                          <a:cs typeface="Calibri"/>
                        </a:rPr>
                        <a:t>(Toggle</a:t>
                      </a:r>
                      <a:r>
                        <a:rPr sz="1100" spc="1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45" dirty="0">
                          <a:latin typeface="Calibri"/>
                          <a:cs typeface="Calibri"/>
                        </a:rPr>
                        <a:t>Switch)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31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100" dirty="0">
                          <a:latin typeface="Calibri"/>
                          <a:cs typeface="Calibri"/>
                        </a:rPr>
                        <a:t>True</a:t>
                      </a:r>
                      <a:r>
                        <a:rPr sz="1100" spc="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-75" dirty="0">
                          <a:latin typeface="Calibri"/>
                          <a:cs typeface="Calibri"/>
                        </a:rPr>
                        <a:t>/</a:t>
                      </a:r>
                      <a:r>
                        <a:rPr sz="1100" spc="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False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31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100" spc="50" dirty="0">
                          <a:latin typeface="Calibri"/>
                          <a:cs typeface="Calibri"/>
                        </a:rPr>
                        <a:t>False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31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100" spc="50" dirty="0">
                          <a:latin typeface="Calibri"/>
                          <a:cs typeface="Calibri"/>
                        </a:rPr>
                        <a:t>Hide</a:t>
                      </a:r>
                      <a:r>
                        <a:rPr sz="1100" spc="10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100" spc="1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45" dirty="0">
                          <a:latin typeface="Calibri"/>
                          <a:cs typeface="Calibri"/>
                        </a:rPr>
                        <a:t>‘Contact</a:t>
                      </a:r>
                      <a:r>
                        <a:rPr sz="1100" spc="1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Details’</a:t>
                      </a:r>
                      <a:r>
                        <a:rPr sz="1100" spc="1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5" dirty="0">
                          <a:latin typeface="Calibri"/>
                          <a:cs typeface="Calibri"/>
                        </a:rPr>
                        <a:t>section</a:t>
                      </a:r>
                      <a:r>
                        <a:rPr sz="1100" spc="1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on</a:t>
                      </a:r>
                      <a:r>
                        <a:rPr sz="1100" spc="1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100" spc="1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restaurant</a:t>
                      </a:r>
                      <a:r>
                        <a:rPr sz="1100" spc="1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details</a:t>
                      </a:r>
                      <a:r>
                        <a:rPr sz="1100" spc="10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-20" dirty="0">
                          <a:latin typeface="Calibri"/>
                          <a:cs typeface="Calibri"/>
                        </a:rPr>
                        <a:t>view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31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0220">
                <a:tc>
                  <a:txBody>
                    <a:bodyPr/>
                    <a:lstStyle/>
                    <a:p>
                      <a:pPr marL="95250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100" spc="-10" dirty="0">
                          <a:latin typeface="Calibri"/>
                          <a:cs typeface="Calibri"/>
                        </a:rPr>
                        <a:t>restaurant_hideFacilities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31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100" dirty="0">
                          <a:latin typeface="Calibri"/>
                          <a:cs typeface="Calibri"/>
                        </a:rPr>
                        <a:t>Boolean</a:t>
                      </a:r>
                      <a:r>
                        <a:rPr sz="1100" spc="1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5" dirty="0">
                          <a:latin typeface="Calibri"/>
                          <a:cs typeface="Calibri"/>
                        </a:rPr>
                        <a:t>(Toggle</a:t>
                      </a:r>
                      <a:r>
                        <a:rPr sz="1100" spc="1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45" dirty="0">
                          <a:latin typeface="Calibri"/>
                          <a:cs typeface="Calibri"/>
                        </a:rPr>
                        <a:t>Switch)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31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100" dirty="0">
                          <a:latin typeface="Calibri"/>
                          <a:cs typeface="Calibri"/>
                        </a:rPr>
                        <a:t>True</a:t>
                      </a:r>
                      <a:r>
                        <a:rPr sz="1100" spc="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-75" dirty="0">
                          <a:latin typeface="Calibri"/>
                          <a:cs typeface="Calibri"/>
                        </a:rPr>
                        <a:t>/</a:t>
                      </a:r>
                      <a:r>
                        <a:rPr sz="1100" spc="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False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31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100" spc="50" dirty="0">
                          <a:latin typeface="Calibri"/>
                          <a:cs typeface="Calibri"/>
                        </a:rPr>
                        <a:t>False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31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100" spc="50" dirty="0">
                          <a:latin typeface="Calibri"/>
                          <a:cs typeface="Calibri"/>
                        </a:rPr>
                        <a:t>Hide</a:t>
                      </a:r>
                      <a:r>
                        <a:rPr sz="1100" spc="1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100" spc="1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‘Facilities’</a:t>
                      </a:r>
                      <a:r>
                        <a:rPr sz="1100" spc="1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5" dirty="0">
                          <a:latin typeface="Calibri"/>
                          <a:cs typeface="Calibri"/>
                        </a:rPr>
                        <a:t>section</a:t>
                      </a:r>
                      <a:r>
                        <a:rPr sz="1100" spc="1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on</a:t>
                      </a:r>
                      <a:r>
                        <a:rPr sz="1100" spc="1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100" spc="1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restaurant</a:t>
                      </a:r>
                      <a:r>
                        <a:rPr sz="1100" spc="1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details</a:t>
                      </a:r>
                      <a:r>
                        <a:rPr sz="1100" spc="1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-20" dirty="0">
                          <a:latin typeface="Calibri"/>
                          <a:cs typeface="Calibri"/>
                        </a:rPr>
                        <a:t>view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310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0220">
                <a:tc>
                  <a:txBody>
                    <a:bodyPr/>
                    <a:lstStyle/>
                    <a:p>
                      <a:pPr marL="95250">
                        <a:lnSpc>
                          <a:spcPct val="100000"/>
                        </a:lnSpc>
                        <a:spcBef>
                          <a:spcPts val="535"/>
                        </a:spcBef>
                      </a:pPr>
                      <a:r>
                        <a:rPr sz="1100" spc="-10" dirty="0">
                          <a:latin typeface="Calibri"/>
                          <a:cs typeface="Calibri"/>
                        </a:rPr>
                        <a:t>restaurant_hideOpenHours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94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5"/>
                        </a:spcBef>
                      </a:pPr>
                      <a:r>
                        <a:rPr sz="1100" dirty="0">
                          <a:latin typeface="Calibri"/>
                          <a:cs typeface="Calibri"/>
                        </a:rPr>
                        <a:t>Boolean</a:t>
                      </a:r>
                      <a:r>
                        <a:rPr sz="1100" spc="1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5" dirty="0">
                          <a:latin typeface="Calibri"/>
                          <a:cs typeface="Calibri"/>
                        </a:rPr>
                        <a:t>(Toggle</a:t>
                      </a:r>
                      <a:r>
                        <a:rPr sz="1100" spc="1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45" dirty="0">
                          <a:latin typeface="Calibri"/>
                          <a:cs typeface="Calibri"/>
                        </a:rPr>
                        <a:t>Switch)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94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5"/>
                        </a:spcBef>
                      </a:pPr>
                      <a:r>
                        <a:rPr sz="1100" dirty="0">
                          <a:latin typeface="Calibri"/>
                          <a:cs typeface="Calibri"/>
                        </a:rPr>
                        <a:t>True</a:t>
                      </a:r>
                      <a:r>
                        <a:rPr sz="1100" spc="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-75" dirty="0">
                          <a:latin typeface="Calibri"/>
                          <a:cs typeface="Calibri"/>
                        </a:rPr>
                        <a:t>/</a:t>
                      </a:r>
                      <a:r>
                        <a:rPr sz="1100" spc="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False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94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5"/>
                        </a:spcBef>
                      </a:pPr>
                      <a:r>
                        <a:rPr sz="1100" spc="50" dirty="0">
                          <a:latin typeface="Calibri"/>
                          <a:cs typeface="Calibri"/>
                        </a:rPr>
                        <a:t>False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94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  <a:spcBef>
                          <a:spcPts val="535"/>
                        </a:spcBef>
                      </a:pPr>
                      <a:r>
                        <a:rPr sz="1100" spc="50" dirty="0">
                          <a:latin typeface="Calibri"/>
                          <a:cs typeface="Calibri"/>
                        </a:rPr>
                        <a:t>Hide</a:t>
                      </a:r>
                      <a:r>
                        <a:rPr sz="1100" spc="1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100" spc="1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‘Opening</a:t>
                      </a:r>
                      <a:r>
                        <a:rPr sz="1100" spc="1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Hours’</a:t>
                      </a:r>
                      <a:r>
                        <a:rPr sz="1100" spc="1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55" dirty="0">
                          <a:latin typeface="Calibri"/>
                          <a:cs typeface="Calibri"/>
                        </a:rPr>
                        <a:t>section</a:t>
                      </a:r>
                      <a:r>
                        <a:rPr sz="1100" spc="1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on</a:t>
                      </a:r>
                      <a:r>
                        <a:rPr sz="1100" spc="1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100" spc="1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restaurant</a:t>
                      </a:r>
                      <a:r>
                        <a:rPr sz="1100" spc="1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details</a:t>
                      </a:r>
                      <a:r>
                        <a:rPr sz="1100" spc="1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-20" dirty="0">
                          <a:latin typeface="Calibri"/>
                          <a:cs typeface="Calibri"/>
                        </a:rPr>
                        <a:t>view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7945" marB="0">
                    <a:lnL w="9525">
                      <a:solidFill>
                        <a:srgbClr val="C1C7D0"/>
                      </a:solidFill>
                      <a:prstDash val="solid"/>
                    </a:lnL>
                    <a:lnR w="9525">
                      <a:solidFill>
                        <a:srgbClr val="C1C7D0"/>
                      </a:solidFill>
                      <a:prstDash val="solid"/>
                    </a:lnR>
                    <a:lnT w="9525">
                      <a:solidFill>
                        <a:srgbClr val="C1C7D0"/>
                      </a:solidFill>
                      <a:prstDash val="solid"/>
                    </a:lnT>
                    <a:lnB w="9525">
                      <a:solidFill>
                        <a:srgbClr val="C1C7D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object 5"/>
          <p:cNvSpPr txBox="1">
            <a:spLocks/>
          </p:cNvSpPr>
          <p:nvPr/>
        </p:nvSpPr>
        <p:spPr>
          <a:xfrm>
            <a:off x="913706" y="7020085"/>
            <a:ext cx="816610" cy="18605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marL="12700">
              <a:spcBef>
                <a:spcPts val="95"/>
              </a:spcBef>
            </a:pPr>
            <a:r>
              <a:rPr lang="en-IN"/>
              <a:t>©</a:t>
            </a:r>
            <a:r>
              <a:rPr lang="en-IN" spc="-35"/>
              <a:t> </a:t>
            </a:r>
            <a:r>
              <a:rPr lang="en-IN" spc="-10"/>
              <a:t>McDonald’s</a:t>
            </a:r>
            <a:endParaRPr lang="en-IN" spc="-10" dirty="0"/>
          </a:p>
        </p:txBody>
      </p:sp>
      <p:sp>
        <p:nvSpPr>
          <p:cNvPr id="11" name="object 6"/>
          <p:cNvSpPr txBox="1">
            <a:spLocks noGrp="1"/>
          </p:cNvSpPr>
          <p:nvPr>
            <p:ph type="sldNum" sz="quarter" idx="4294967295"/>
          </p:nvPr>
        </p:nvSpPr>
        <p:spPr>
          <a:xfrm>
            <a:off x="12270068" y="7020085"/>
            <a:ext cx="227965" cy="18605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95"/>
              </a:spcBef>
            </a:pPr>
            <a:fld id="{81D60167-4931-47E6-BA6A-407CBD079E47}" type="slidenum">
              <a:rPr spc="-25" dirty="0"/>
              <a:t>14</a:t>
            </a:fld>
            <a:endParaRPr spc="-25" dirty="0"/>
          </a:p>
        </p:txBody>
      </p:sp>
    </p:spTree>
    <p:extLst>
      <p:ext uri="{BB962C8B-B14F-4D97-AF65-F5344CB8AC3E}">
        <p14:creationId xmlns:p14="http://schemas.microsoft.com/office/powerpoint/2010/main" val="3481766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588" y="0"/>
            <a:ext cx="12188825" cy="6858000"/>
          </a:xfrm>
          <a:prstGeom prst="rect">
            <a:avLst/>
          </a:prstGeom>
          <a:noFill/>
          <a:ln>
            <a:solidFill>
              <a:schemeClr val="bg1">
                <a:lumMod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Triangle 14"/>
          <p:cNvSpPr/>
          <p:nvPr/>
        </p:nvSpPr>
        <p:spPr>
          <a:xfrm flipH="1">
            <a:off x="10786923" y="6227449"/>
            <a:ext cx="1403489" cy="630552"/>
          </a:xfrm>
          <a:prstGeom prst="rtTriangle">
            <a:avLst/>
          </a:prstGeom>
          <a:solidFill>
            <a:srgbClr val="E0E8E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2175885" y="2883495"/>
            <a:ext cx="745055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 err="1">
                <a:solidFill>
                  <a:schemeClr val="accent2">
                    <a:lumMod val="75000"/>
                  </a:schemeClr>
                </a:solidFill>
                <a:latin typeface="Open Sans"/>
                <a:cs typeface="Arial Black"/>
              </a:rPr>
              <a:t>PhraseApp</a:t>
            </a:r>
            <a:endParaRPr lang="en-US" sz="6000" b="1" dirty="0"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605646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>
          <a:xfrm>
            <a:off x="1342008" y="331551"/>
            <a:ext cx="5805805" cy="369332"/>
          </a:xfrm>
          <a:prstGeom prst="rect">
            <a:avLst/>
          </a:prstGeom>
        </p:spPr>
        <p:txBody>
          <a:bodyPr vert="horz" lIns="137160" tIns="13716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60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IN" dirty="0" err="1"/>
              <a:t>PhraseApp</a:t>
            </a:r>
            <a:endParaRPr lang="en-IN" dirty="0"/>
          </a:p>
        </p:txBody>
      </p:sp>
      <p:sp>
        <p:nvSpPr>
          <p:cNvPr id="8" name="object 3"/>
          <p:cNvSpPr txBox="1"/>
          <p:nvPr/>
        </p:nvSpPr>
        <p:spPr>
          <a:xfrm>
            <a:off x="2422663" y="2022763"/>
            <a:ext cx="7571083" cy="28443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r>
              <a:rPr lang="en-IN" sz="2000" b="1" dirty="0"/>
              <a:t>Remotely updatable String:</a:t>
            </a:r>
          </a:p>
          <a:p>
            <a:endParaRPr lang="en-IN" sz="2000" dirty="0"/>
          </a:p>
          <a:p>
            <a:r>
              <a:rPr lang="en-IN" sz="2000" dirty="0"/>
              <a:t>All string that are translated in the </a:t>
            </a:r>
            <a:r>
              <a:rPr lang="en-IN" sz="2000" dirty="0" err="1"/>
              <a:t>PhraseApp</a:t>
            </a:r>
            <a:r>
              <a:rPr lang="en-IN" sz="2000" dirty="0"/>
              <a:t> will affect the application remotely. This means without creating a new application release, the app will get the latest translation from </a:t>
            </a:r>
            <a:r>
              <a:rPr lang="en-IN" sz="2000" dirty="0" err="1"/>
              <a:t>PhraseApp</a:t>
            </a:r>
            <a:r>
              <a:rPr lang="en-IN" sz="2000" dirty="0"/>
              <a:t> every midnight CET time. So if you translate something in the </a:t>
            </a:r>
            <a:r>
              <a:rPr lang="en-IN" sz="2000" dirty="0" err="1"/>
              <a:t>PhraseApp</a:t>
            </a:r>
            <a:r>
              <a:rPr lang="en-IN" sz="2000" dirty="0"/>
              <a:t>, you can expect that the translation is in the application next day.</a:t>
            </a:r>
          </a:p>
          <a:p>
            <a:endParaRPr lang="en-IN" sz="2400" dirty="0"/>
          </a:p>
        </p:txBody>
      </p:sp>
      <p:sp>
        <p:nvSpPr>
          <p:cNvPr id="9" name="object 3"/>
          <p:cNvSpPr/>
          <p:nvPr/>
        </p:nvSpPr>
        <p:spPr>
          <a:xfrm>
            <a:off x="1463963" y="1030766"/>
            <a:ext cx="7223759" cy="0"/>
          </a:xfrm>
          <a:custGeom>
            <a:avLst/>
            <a:gdLst/>
            <a:ahLst/>
            <a:cxnLst/>
            <a:rect l="l" t="t" r="r" b="b"/>
            <a:pathLst>
              <a:path w="7223759">
                <a:moveTo>
                  <a:pt x="0" y="0"/>
                </a:moveTo>
                <a:lnTo>
                  <a:pt x="7223760" y="1"/>
                </a:lnTo>
              </a:path>
            </a:pathLst>
          </a:custGeom>
          <a:ln w="76200">
            <a:solidFill>
              <a:srgbClr val="FFBC0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11629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17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295400" y="100703"/>
            <a:ext cx="5805805" cy="369332"/>
          </a:xfrm>
          <a:prstGeom prst="rect">
            <a:avLst/>
          </a:prstGeom>
        </p:spPr>
        <p:txBody>
          <a:bodyPr vert="horz" lIns="137160" tIns="13716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60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IN" dirty="0" err="1"/>
              <a:t>PhraseApp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1295400" y="889534"/>
            <a:ext cx="10210800" cy="2739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IN" sz="2000" b="1" dirty="0"/>
              <a:t>How to Translate String:</a:t>
            </a:r>
          </a:p>
          <a:p>
            <a:pPr algn="l"/>
            <a:endParaRPr lang="en-IN" sz="2000" b="1" dirty="0"/>
          </a:p>
          <a:p>
            <a:r>
              <a:rPr lang="en-IN" sz="2000" dirty="0"/>
              <a:t>1) Login to Phrase app and select the project you want to work with.</a:t>
            </a:r>
          </a:p>
          <a:p>
            <a:r>
              <a:rPr lang="en-IN" sz="2000" dirty="0"/>
              <a:t>2) You will see the total of untranslated strings in this view. 805 untranslated strings in this case</a:t>
            </a:r>
          </a:p>
          <a:p>
            <a:endParaRPr lang="en-IN" sz="2400" dirty="0"/>
          </a:p>
          <a:p>
            <a:endParaRPr lang="en-IN" sz="2400" dirty="0"/>
          </a:p>
          <a:p>
            <a:pPr algn="l"/>
            <a:endParaRPr lang="en-IN" sz="2400" b="1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1818" y="2252486"/>
            <a:ext cx="6539345" cy="4455136"/>
          </a:xfrm>
          <a:prstGeom prst="rect">
            <a:avLst/>
          </a:prstGeom>
        </p:spPr>
      </p:pic>
      <p:sp>
        <p:nvSpPr>
          <p:cNvPr id="7" name="object 3"/>
          <p:cNvSpPr/>
          <p:nvPr/>
        </p:nvSpPr>
        <p:spPr>
          <a:xfrm>
            <a:off x="1445491" y="777677"/>
            <a:ext cx="7223759" cy="0"/>
          </a:xfrm>
          <a:custGeom>
            <a:avLst/>
            <a:gdLst/>
            <a:ahLst/>
            <a:cxnLst/>
            <a:rect l="l" t="t" r="r" b="b"/>
            <a:pathLst>
              <a:path w="7223759">
                <a:moveTo>
                  <a:pt x="0" y="0"/>
                </a:moveTo>
                <a:lnTo>
                  <a:pt x="7223760" y="1"/>
                </a:lnTo>
              </a:path>
            </a:pathLst>
          </a:custGeom>
          <a:ln w="76200">
            <a:solidFill>
              <a:srgbClr val="FFBC0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8804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Pct val="95000"/>
              <a:buFontTx/>
              <a:buNone/>
              <a:tabLst/>
              <a:defRPr/>
            </a:pPr>
            <a:fld id="{EA543DA1-053B-459F-9A3B-E2E644C3A7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95000"/>
                <a:buFontTx/>
                <a:buNone/>
                <a:tabLst/>
                <a:defRPr/>
              </a:pPr>
              <a:t>18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295399" y="285369"/>
            <a:ext cx="5805805" cy="369332"/>
          </a:xfrm>
          <a:prstGeom prst="rect">
            <a:avLst/>
          </a:prstGeom>
        </p:spPr>
        <p:txBody>
          <a:bodyPr vert="horz" lIns="137160" tIns="13716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60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IN" dirty="0" err="1"/>
              <a:t>PhraseApp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1295399" y="1203632"/>
            <a:ext cx="10210800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000" dirty="0"/>
              <a:t>3) Select Your Language.</a:t>
            </a:r>
          </a:p>
          <a:p>
            <a:r>
              <a:rPr lang="en-IN" sz="2000" dirty="0"/>
              <a:t>4) You will see the English string on your left side of the screen</a:t>
            </a:r>
          </a:p>
          <a:p>
            <a:endParaRPr lang="en-IN" sz="2400" dirty="0"/>
          </a:p>
          <a:p>
            <a:endParaRPr lang="en-IN" sz="2400" dirty="0"/>
          </a:p>
          <a:p>
            <a:endParaRPr lang="en-IN" sz="2400" dirty="0"/>
          </a:p>
          <a:p>
            <a:pPr algn="l"/>
            <a:endParaRPr lang="en-IN" sz="2400" b="1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0837" y="1989485"/>
            <a:ext cx="7295244" cy="4970116"/>
          </a:xfrm>
          <a:prstGeom prst="rect">
            <a:avLst/>
          </a:prstGeom>
        </p:spPr>
      </p:pic>
      <p:sp>
        <p:nvSpPr>
          <p:cNvPr id="7" name="object 3"/>
          <p:cNvSpPr/>
          <p:nvPr/>
        </p:nvSpPr>
        <p:spPr>
          <a:xfrm>
            <a:off x="1454727" y="929166"/>
            <a:ext cx="7223759" cy="0"/>
          </a:xfrm>
          <a:custGeom>
            <a:avLst/>
            <a:gdLst/>
            <a:ahLst/>
            <a:cxnLst/>
            <a:rect l="l" t="t" r="r" b="b"/>
            <a:pathLst>
              <a:path w="7223759">
                <a:moveTo>
                  <a:pt x="0" y="0"/>
                </a:moveTo>
                <a:lnTo>
                  <a:pt x="7223760" y="1"/>
                </a:lnTo>
              </a:path>
            </a:pathLst>
          </a:custGeom>
          <a:ln w="76200">
            <a:solidFill>
              <a:srgbClr val="FFBC0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58748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>
          <a:xfrm>
            <a:off x="1295399" y="145603"/>
            <a:ext cx="5805805" cy="369332"/>
          </a:xfrm>
          <a:prstGeom prst="rect">
            <a:avLst/>
          </a:prstGeom>
        </p:spPr>
        <p:txBody>
          <a:bodyPr vert="horz" lIns="137160" tIns="13716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60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IN" dirty="0" err="1"/>
              <a:t>PhraseApp</a:t>
            </a:r>
            <a:endParaRPr lang="en-IN" dirty="0"/>
          </a:p>
        </p:txBody>
      </p:sp>
      <p:sp>
        <p:nvSpPr>
          <p:cNvPr id="8" name="Rectangle 7"/>
          <p:cNvSpPr/>
          <p:nvPr/>
        </p:nvSpPr>
        <p:spPr>
          <a:xfrm>
            <a:off x="1295399" y="1066800"/>
            <a:ext cx="1021080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000" dirty="0"/>
              <a:t>5) Add the translation to the string on the right hand side.</a:t>
            </a:r>
          </a:p>
          <a:p>
            <a:r>
              <a:rPr lang="en-IN" sz="2000" dirty="0"/>
              <a:t>6) Press save to save your changes</a:t>
            </a:r>
          </a:p>
          <a:p>
            <a:endParaRPr lang="en-IN" sz="2400" dirty="0"/>
          </a:p>
          <a:p>
            <a:endParaRPr lang="en-IN" sz="2400" dirty="0"/>
          </a:p>
          <a:p>
            <a:endParaRPr lang="en-IN" sz="2400" dirty="0"/>
          </a:p>
          <a:p>
            <a:endParaRPr lang="en-IN" sz="2400" dirty="0"/>
          </a:p>
          <a:p>
            <a:pPr algn="l"/>
            <a:endParaRPr lang="en-IN" sz="2400" b="1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8018" y="1861758"/>
            <a:ext cx="7319161" cy="4986410"/>
          </a:xfrm>
          <a:prstGeom prst="rect">
            <a:avLst/>
          </a:prstGeom>
        </p:spPr>
      </p:pic>
      <p:sp>
        <p:nvSpPr>
          <p:cNvPr id="10" name="object 3"/>
          <p:cNvSpPr/>
          <p:nvPr/>
        </p:nvSpPr>
        <p:spPr>
          <a:xfrm>
            <a:off x="1380836" y="809093"/>
            <a:ext cx="7223759" cy="0"/>
          </a:xfrm>
          <a:custGeom>
            <a:avLst/>
            <a:gdLst/>
            <a:ahLst/>
            <a:cxnLst/>
            <a:rect l="l" t="t" r="r" b="b"/>
            <a:pathLst>
              <a:path w="7223759">
                <a:moveTo>
                  <a:pt x="0" y="0"/>
                </a:moveTo>
                <a:lnTo>
                  <a:pt x="7223760" y="1"/>
                </a:lnTo>
              </a:path>
            </a:pathLst>
          </a:custGeom>
          <a:ln w="76200">
            <a:solidFill>
              <a:srgbClr val="FFBC0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57250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"/>
          <p:cNvSpPr txBox="1">
            <a:spLocks/>
          </p:cNvSpPr>
          <p:nvPr/>
        </p:nvSpPr>
        <p:spPr>
          <a:xfrm>
            <a:off x="1366681" y="145219"/>
            <a:ext cx="6179428" cy="689932"/>
          </a:xfrm>
          <a:prstGeom prst="rect">
            <a:avLst/>
          </a:prstGeom>
        </p:spPr>
        <p:txBody>
          <a:bodyPr vert="horz" wrap="square" lIns="0" tIns="1270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60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en-IN" dirty="0"/>
              <a:t>Advanced</a:t>
            </a:r>
            <a:r>
              <a:rPr lang="en-IN" spc="-130" dirty="0"/>
              <a:t> </a:t>
            </a:r>
            <a:r>
              <a:rPr lang="en-IN" dirty="0"/>
              <a:t>App</a:t>
            </a:r>
            <a:r>
              <a:rPr lang="en-IN" spc="-60" dirty="0"/>
              <a:t> </a:t>
            </a:r>
            <a:r>
              <a:rPr lang="en-IN" spc="-10" dirty="0"/>
              <a:t>Topics</a:t>
            </a:r>
          </a:p>
        </p:txBody>
      </p:sp>
      <p:sp>
        <p:nvSpPr>
          <p:cNvPr id="8" name="object 3"/>
          <p:cNvSpPr txBox="1"/>
          <p:nvPr/>
        </p:nvSpPr>
        <p:spPr>
          <a:xfrm>
            <a:off x="4133502" y="1747602"/>
            <a:ext cx="4542155" cy="2843726"/>
          </a:xfrm>
          <a:prstGeom prst="rect">
            <a:avLst/>
          </a:prstGeom>
        </p:spPr>
        <p:txBody>
          <a:bodyPr vert="horz" wrap="square" lIns="0" tIns="113664" rIns="0" bIns="0" rtlCol="0">
            <a:spAutoFit/>
          </a:bodyPr>
          <a:lstStyle/>
          <a:p>
            <a:pPr marL="355600" indent="-343535">
              <a:lnSpc>
                <a:spcPct val="100000"/>
              </a:lnSpc>
              <a:spcBef>
                <a:spcPts val="894"/>
              </a:spcBef>
              <a:buClr>
                <a:srgbClr val="AB251F"/>
              </a:buClr>
              <a:buChar char="•"/>
              <a:tabLst>
                <a:tab pos="355600" algn="l"/>
                <a:tab pos="356235" algn="l"/>
              </a:tabLst>
            </a:pPr>
            <a:r>
              <a:rPr sz="2400" dirty="0">
                <a:solidFill>
                  <a:srgbClr val="404040"/>
                </a:solidFill>
                <a:latin typeface="Arial"/>
                <a:cs typeface="Arial"/>
              </a:rPr>
              <a:t>Fraud</a:t>
            </a:r>
            <a:r>
              <a:rPr sz="2400" spc="-16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Prevention</a:t>
            </a:r>
            <a:endParaRPr sz="2400" dirty="0">
              <a:latin typeface="Arial"/>
              <a:cs typeface="Arial"/>
            </a:endParaRPr>
          </a:p>
          <a:p>
            <a:pPr marL="355600" indent="-343535">
              <a:lnSpc>
                <a:spcPct val="100000"/>
              </a:lnSpc>
              <a:spcBef>
                <a:spcPts val="795"/>
              </a:spcBef>
              <a:buClr>
                <a:srgbClr val="AB251F"/>
              </a:buClr>
              <a:buChar char="•"/>
              <a:tabLst>
                <a:tab pos="355600" algn="l"/>
                <a:tab pos="356235" algn="l"/>
              </a:tabLst>
            </a:pP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Remote</a:t>
            </a:r>
            <a:r>
              <a:rPr sz="2400" spc="-10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25" dirty="0">
                <a:solidFill>
                  <a:srgbClr val="404040"/>
                </a:solidFill>
                <a:latin typeface="Arial"/>
                <a:cs typeface="Arial"/>
              </a:rPr>
              <a:t>Configuration</a:t>
            </a:r>
            <a:r>
              <a:rPr sz="2400" spc="-7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20" dirty="0">
                <a:solidFill>
                  <a:srgbClr val="404040"/>
                </a:solidFill>
                <a:latin typeface="Arial"/>
                <a:cs typeface="Arial"/>
              </a:rPr>
              <a:t>Tool</a:t>
            </a:r>
            <a:endParaRPr sz="2400" dirty="0">
              <a:latin typeface="Arial"/>
              <a:cs typeface="Arial"/>
            </a:endParaRPr>
          </a:p>
          <a:p>
            <a:pPr marL="355600" indent="-343535">
              <a:lnSpc>
                <a:spcPct val="100000"/>
              </a:lnSpc>
              <a:spcBef>
                <a:spcPts val="805"/>
              </a:spcBef>
              <a:buClr>
                <a:srgbClr val="AB251F"/>
              </a:buClr>
              <a:buChar char="•"/>
              <a:tabLst>
                <a:tab pos="355600" algn="l"/>
                <a:tab pos="356235" algn="l"/>
              </a:tabLst>
            </a:pP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WebViews</a:t>
            </a:r>
            <a:r>
              <a:rPr sz="2400" spc="-11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404040"/>
                </a:solidFill>
                <a:latin typeface="Arial"/>
                <a:cs typeface="Arial"/>
              </a:rPr>
              <a:t>vs</a:t>
            </a:r>
            <a:r>
              <a:rPr sz="2400" spc="-13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404040"/>
                </a:solidFill>
                <a:latin typeface="Arial"/>
                <a:cs typeface="Arial"/>
              </a:rPr>
              <a:t>Smart</a:t>
            </a:r>
            <a:r>
              <a:rPr sz="2400" spc="-13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20" dirty="0">
                <a:solidFill>
                  <a:srgbClr val="404040"/>
                </a:solidFill>
                <a:latin typeface="Arial"/>
                <a:cs typeface="Arial"/>
              </a:rPr>
              <a:t>WebViews</a:t>
            </a:r>
            <a:endParaRPr sz="2400" dirty="0">
              <a:latin typeface="Arial"/>
              <a:cs typeface="Arial"/>
            </a:endParaRPr>
          </a:p>
          <a:p>
            <a:pPr marL="355600" indent="-343535">
              <a:lnSpc>
                <a:spcPct val="100000"/>
              </a:lnSpc>
              <a:spcBef>
                <a:spcPts val="805"/>
              </a:spcBef>
              <a:buClr>
                <a:srgbClr val="AB251F"/>
              </a:buClr>
              <a:buChar char="•"/>
              <a:tabLst>
                <a:tab pos="355600" algn="l"/>
                <a:tab pos="356235" algn="l"/>
              </a:tabLst>
            </a:pPr>
            <a:r>
              <a:rPr sz="2400" spc="-20" dirty="0">
                <a:solidFill>
                  <a:srgbClr val="404040"/>
                </a:solidFill>
                <a:latin typeface="Arial"/>
                <a:cs typeface="Arial"/>
              </a:rPr>
              <a:t>Customer</a:t>
            </a:r>
            <a:r>
              <a:rPr sz="2400" spc="-11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404040"/>
                </a:solidFill>
                <a:latin typeface="Arial"/>
                <a:cs typeface="Arial"/>
              </a:rPr>
              <a:t>Care</a:t>
            </a:r>
            <a:r>
              <a:rPr sz="2400" spc="-10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Portal</a:t>
            </a:r>
            <a:endParaRPr sz="2400" dirty="0">
              <a:latin typeface="Arial"/>
              <a:cs typeface="Arial"/>
            </a:endParaRPr>
          </a:p>
          <a:p>
            <a:pPr marL="355600" indent="-343535">
              <a:lnSpc>
                <a:spcPct val="100000"/>
              </a:lnSpc>
              <a:spcBef>
                <a:spcPts val="795"/>
              </a:spcBef>
              <a:buClr>
                <a:srgbClr val="AB251F"/>
              </a:buClr>
              <a:buChar char="•"/>
              <a:tabLst>
                <a:tab pos="355600" algn="l"/>
                <a:tab pos="356235" algn="l"/>
              </a:tabLst>
            </a:pP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Market</a:t>
            </a:r>
            <a:r>
              <a:rPr sz="2400" spc="-114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Engine</a:t>
            </a:r>
            <a:endParaRPr lang="en-IN" sz="2400" spc="-10" dirty="0">
              <a:solidFill>
                <a:srgbClr val="404040"/>
              </a:solidFill>
              <a:latin typeface="Arial"/>
              <a:cs typeface="Arial"/>
            </a:endParaRPr>
          </a:p>
          <a:p>
            <a:pPr marL="355600" indent="-343535">
              <a:lnSpc>
                <a:spcPct val="100000"/>
              </a:lnSpc>
              <a:spcBef>
                <a:spcPts val="795"/>
              </a:spcBef>
              <a:buClr>
                <a:srgbClr val="AB251F"/>
              </a:buClr>
              <a:buChar char="•"/>
              <a:tabLst>
                <a:tab pos="355600" algn="l"/>
                <a:tab pos="356235" algn="l"/>
              </a:tabLst>
            </a:pPr>
            <a:r>
              <a:rPr lang="en-IN" sz="2400" spc="-10" dirty="0" err="1">
                <a:solidFill>
                  <a:srgbClr val="404040"/>
                </a:solidFill>
                <a:latin typeface="Arial"/>
                <a:cs typeface="Arial"/>
              </a:rPr>
              <a:t>PhraseApp</a:t>
            </a:r>
            <a:endParaRPr sz="24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570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eedback, questions?</a:t>
            </a:r>
          </a:p>
        </p:txBody>
      </p:sp>
    </p:spTree>
    <p:extLst>
      <p:ext uri="{BB962C8B-B14F-4D97-AF65-F5344CB8AC3E}">
        <p14:creationId xmlns:p14="http://schemas.microsoft.com/office/powerpoint/2010/main" val="2507703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588" y="0"/>
            <a:ext cx="12188825" cy="6858000"/>
          </a:xfrm>
          <a:prstGeom prst="rect">
            <a:avLst/>
          </a:prstGeom>
          <a:noFill/>
          <a:ln>
            <a:solidFill>
              <a:schemeClr val="bg1">
                <a:lumMod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Triangle 14"/>
          <p:cNvSpPr/>
          <p:nvPr/>
        </p:nvSpPr>
        <p:spPr>
          <a:xfrm flipH="1">
            <a:off x="10786923" y="6227449"/>
            <a:ext cx="1403489" cy="630552"/>
          </a:xfrm>
          <a:prstGeom prst="rtTriangle">
            <a:avLst/>
          </a:prstGeom>
          <a:solidFill>
            <a:srgbClr val="E0E8E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2175885" y="2883495"/>
            <a:ext cx="745055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2">
                    <a:lumMod val="75000"/>
                  </a:schemeClr>
                </a:solidFill>
                <a:latin typeface="Open Sans"/>
                <a:cs typeface="Arial Black"/>
              </a:rPr>
              <a:t>Fraud Prevention</a:t>
            </a:r>
            <a:endParaRPr lang="en-US" sz="6000" b="1" dirty="0"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731073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267408" y="24938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125788" y="863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" name="object 3"/>
          <p:cNvSpPr txBox="1"/>
          <p:nvPr/>
        </p:nvSpPr>
        <p:spPr>
          <a:xfrm>
            <a:off x="2036848" y="1232932"/>
            <a:ext cx="9086215" cy="4271682"/>
          </a:xfrm>
          <a:prstGeom prst="rect">
            <a:avLst/>
          </a:prstGeom>
        </p:spPr>
        <p:txBody>
          <a:bodyPr vert="horz" wrap="square" lIns="0" tIns="113030" rIns="0" bIns="0" rtlCol="0">
            <a:spAutoFit/>
          </a:bodyPr>
          <a:lstStyle/>
          <a:p>
            <a:pPr marL="469900" indent="-457834">
              <a:lnSpc>
                <a:spcPct val="100000"/>
              </a:lnSpc>
              <a:spcBef>
                <a:spcPts val="890"/>
              </a:spcBef>
              <a:buClr>
                <a:srgbClr val="AB251F"/>
              </a:buClr>
              <a:buAutoNum type="arabicPeriod"/>
              <a:tabLst>
                <a:tab pos="469900" algn="l"/>
                <a:tab pos="470534" algn="l"/>
              </a:tabLst>
            </a:pPr>
            <a:r>
              <a:rPr sz="2400" dirty="0">
                <a:solidFill>
                  <a:srgbClr val="404040"/>
                </a:solidFill>
                <a:latin typeface="Arial"/>
                <a:cs typeface="Arial"/>
              </a:rPr>
              <a:t>Same</a:t>
            </a:r>
            <a:r>
              <a:rPr sz="2400" spc="-14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device,</a:t>
            </a:r>
            <a:r>
              <a:rPr sz="2400" spc="-10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20" dirty="0">
                <a:solidFill>
                  <a:srgbClr val="404040"/>
                </a:solidFill>
                <a:latin typeface="Arial"/>
                <a:cs typeface="Arial"/>
              </a:rPr>
              <a:t>different</a:t>
            </a:r>
            <a:r>
              <a:rPr sz="2400" spc="-13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404040"/>
                </a:solidFill>
                <a:latin typeface="Arial"/>
                <a:cs typeface="Arial"/>
              </a:rPr>
              <a:t>email</a:t>
            </a:r>
            <a:r>
              <a:rPr sz="2400" spc="-11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accounts</a:t>
            </a:r>
            <a:endParaRPr sz="2400" dirty="0">
              <a:latin typeface="Arial"/>
              <a:cs typeface="Arial"/>
            </a:endParaRPr>
          </a:p>
          <a:p>
            <a:pPr marL="469900" indent="-457834">
              <a:lnSpc>
                <a:spcPct val="100000"/>
              </a:lnSpc>
              <a:spcBef>
                <a:spcPts val="795"/>
              </a:spcBef>
              <a:buClr>
                <a:srgbClr val="AB251F"/>
              </a:buClr>
              <a:buAutoNum type="arabicPeriod"/>
              <a:tabLst>
                <a:tab pos="469900" algn="l"/>
                <a:tab pos="470534" algn="l"/>
              </a:tabLst>
            </a:pP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Install</a:t>
            </a:r>
            <a:r>
              <a:rPr sz="2400" spc="-12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GMAL</a:t>
            </a:r>
            <a:r>
              <a:rPr sz="2400" spc="-12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404040"/>
                </a:solidFill>
                <a:latin typeface="Arial"/>
                <a:cs typeface="Arial"/>
              </a:rPr>
              <a:t>app,</a:t>
            </a:r>
            <a:r>
              <a:rPr sz="2400" spc="-11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redeem</a:t>
            </a:r>
            <a:r>
              <a:rPr sz="2400" spc="-11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offer,</a:t>
            </a:r>
            <a:r>
              <a:rPr sz="2400" spc="-13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20" dirty="0">
                <a:solidFill>
                  <a:srgbClr val="404040"/>
                </a:solidFill>
                <a:latin typeface="Arial"/>
                <a:cs typeface="Arial"/>
              </a:rPr>
              <a:t>uninstall</a:t>
            </a:r>
            <a:r>
              <a:rPr sz="2400" spc="-10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404040"/>
                </a:solidFill>
                <a:latin typeface="Arial"/>
                <a:cs typeface="Arial"/>
              </a:rPr>
              <a:t>and</a:t>
            </a:r>
            <a:r>
              <a:rPr sz="2400" spc="-10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20" dirty="0">
                <a:solidFill>
                  <a:srgbClr val="404040"/>
                </a:solidFill>
                <a:latin typeface="Arial"/>
                <a:cs typeface="Arial"/>
              </a:rPr>
              <a:t>reinstall</a:t>
            </a:r>
            <a:r>
              <a:rPr sz="2400" spc="-10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GMAL</a:t>
            </a:r>
            <a:r>
              <a:rPr sz="2400" spc="-12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25" dirty="0">
                <a:solidFill>
                  <a:srgbClr val="404040"/>
                </a:solidFill>
                <a:latin typeface="Arial"/>
                <a:cs typeface="Arial"/>
              </a:rPr>
              <a:t>app</a:t>
            </a:r>
            <a:endParaRPr sz="2400" dirty="0">
              <a:latin typeface="Arial"/>
              <a:cs typeface="Arial"/>
            </a:endParaRPr>
          </a:p>
          <a:p>
            <a:pPr marL="469900" indent="-457834">
              <a:lnSpc>
                <a:spcPct val="100000"/>
              </a:lnSpc>
              <a:spcBef>
                <a:spcPts val="805"/>
              </a:spcBef>
              <a:buClr>
                <a:srgbClr val="AB251F"/>
              </a:buClr>
              <a:buAutoNum type="arabicPeriod"/>
              <a:tabLst>
                <a:tab pos="469900" algn="l"/>
                <a:tab pos="470534" algn="l"/>
              </a:tabLst>
            </a:pPr>
            <a:r>
              <a:rPr sz="2400" dirty="0">
                <a:solidFill>
                  <a:srgbClr val="404040"/>
                </a:solidFill>
                <a:latin typeface="Arial"/>
                <a:cs typeface="Arial"/>
              </a:rPr>
              <a:t>Using</a:t>
            </a:r>
            <a:r>
              <a:rPr sz="2400" spc="-13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rooted</a:t>
            </a:r>
            <a:r>
              <a:rPr sz="2400" spc="-14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devices</a:t>
            </a:r>
            <a:endParaRPr sz="2400" dirty="0">
              <a:latin typeface="Arial"/>
              <a:cs typeface="Arial"/>
            </a:endParaRPr>
          </a:p>
          <a:p>
            <a:pPr marL="469900" indent="-457834">
              <a:lnSpc>
                <a:spcPct val="100000"/>
              </a:lnSpc>
              <a:spcBef>
                <a:spcPts val="800"/>
              </a:spcBef>
              <a:buClr>
                <a:srgbClr val="AB251F"/>
              </a:buClr>
              <a:buAutoNum type="arabicPeriod"/>
              <a:tabLst>
                <a:tab pos="469900" algn="l"/>
                <a:tab pos="470534" algn="l"/>
              </a:tabLst>
            </a:pPr>
            <a:r>
              <a:rPr sz="2400" dirty="0">
                <a:solidFill>
                  <a:srgbClr val="404040"/>
                </a:solidFill>
                <a:latin typeface="Arial"/>
                <a:cs typeface="Arial"/>
              </a:rPr>
              <a:t>Using</a:t>
            </a:r>
            <a:r>
              <a:rPr sz="2400" spc="-12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404040"/>
                </a:solidFill>
                <a:latin typeface="Arial"/>
                <a:cs typeface="Arial"/>
              </a:rPr>
              <a:t>the</a:t>
            </a:r>
            <a:r>
              <a:rPr sz="2400" spc="-14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404040"/>
                </a:solidFill>
                <a:latin typeface="Arial"/>
                <a:cs typeface="Arial"/>
              </a:rPr>
              <a:t>Secure</a:t>
            </a:r>
            <a:r>
              <a:rPr sz="2400" spc="-12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Folder</a:t>
            </a:r>
            <a:r>
              <a:rPr sz="2400" spc="-11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option</a:t>
            </a:r>
            <a:r>
              <a:rPr sz="2400" spc="-12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404040"/>
                </a:solidFill>
                <a:latin typeface="Arial"/>
                <a:cs typeface="Arial"/>
              </a:rPr>
              <a:t>in</a:t>
            </a:r>
            <a:r>
              <a:rPr sz="2400" spc="-14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Samsung</a:t>
            </a:r>
            <a:r>
              <a:rPr sz="2400" spc="-12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devices</a:t>
            </a:r>
            <a:endParaRPr sz="2400" dirty="0">
              <a:latin typeface="Arial"/>
              <a:cs typeface="Arial"/>
            </a:endParaRPr>
          </a:p>
          <a:p>
            <a:pPr marL="469900" indent="-457834">
              <a:lnSpc>
                <a:spcPct val="100000"/>
              </a:lnSpc>
              <a:spcBef>
                <a:spcPts val="795"/>
              </a:spcBef>
              <a:buClr>
                <a:srgbClr val="AB251F"/>
              </a:buClr>
              <a:buAutoNum type="arabicPeriod"/>
              <a:tabLst>
                <a:tab pos="469900" algn="l"/>
                <a:tab pos="470534" algn="l"/>
              </a:tabLst>
            </a:pPr>
            <a:r>
              <a:rPr sz="2400" dirty="0">
                <a:solidFill>
                  <a:srgbClr val="404040"/>
                </a:solidFill>
                <a:latin typeface="Arial"/>
                <a:cs typeface="Arial"/>
              </a:rPr>
              <a:t>Using</a:t>
            </a:r>
            <a:r>
              <a:rPr sz="2400" spc="-12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Parallels</a:t>
            </a:r>
            <a:r>
              <a:rPr sz="2400" spc="-9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20" dirty="0">
                <a:solidFill>
                  <a:srgbClr val="404040"/>
                </a:solidFill>
                <a:latin typeface="Arial"/>
                <a:cs typeface="Arial"/>
              </a:rPr>
              <a:t>software</a:t>
            </a:r>
            <a:r>
              <a:rPr sz="2400" spc="-13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404040"/>
                </a:solidFill>
                <a:latin typeface="Arial"/>
                <a:cs typeface="Arial"/>
              </a:rPr>
              <a:t>in</a:t>
            </a:r>
            <a:r>
              <a:rPr sz="2400" spc="-114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Android</a:t>
            </a:r>
            <a:endParaRPr sz="2400" dirty="0">
              <a:latin typeface="Arial"/>
              <a:cs typeface="Arial"/>
            </a:endParaRPr>
          </a:p>
          <a:p>
            <a:pPr marL="469900" indent="-457834">
              <a:lnSpc>
                <a:spcPct val="100000"/>
              </a:lnSpc>
              <a:spcBef>
                <a:spcPts val="805"/>
              </a:spcBef>
              <a:buClr>
                <a:srgbClr val="AB251F"/>
              </a:buClr>
              <a:buAutoNum type="arabicPeriod"/>
              <a:tabLst>
                <a:tab pos="469900" algn="l"/>
                <a:tab pos="470534" algn="l"/>
              </a:tabLst>
            </a:pP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Changing</a:t>
            </a:r>
            <a:r>
              <a:rPr sz="2400" spc="-8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20" dirty="0">
                <a:solidFill>
                  <a:srgbClr val="404040"/>
                </a:solidFill>
                <a:latin typeface="Arial"/>
                <a:cs typeface="Arial"/>
              </a:rPr>
              <a:t>date/time</a:t>
            </a:r>
            <a:r>
              <a:rPr sz="2400" spc="-12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404040"/>
                </a:solidFill>
                <a:latin typeface="Arial"/>
                <a:cs typeface="Arial"/>
              </a:rPr>
              <a:t>of</a:t>
            </a:r>
            <a:r>
              <a:rPr sz="2400" spc="-12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404040"/>
                </a:solidFill>
                <a:latin typeface="Arial"/>
                <a:cs typeface="Arial"/>
              </a:rPr>
              <a:t>user</a:t>
            </a:r>
            <a:r>
              <a:rPr sz="2400" spc="-12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404040"/>
                </a:solidFill>
                <a:latin typeface="Arial"/>
                <a:cs typeface="Arial"/>
              </a:rPr>
              <a:t>device</a:t>
            </a:r>
            <a:endParaRPr lang="en-IN" sz="2400" spc="-10" dirty="0">
              <a:solidFill>
                <a:srgbClr val="404040"/>
              </a:solidFill>
              <a:latin typeface="Arial"/>
              <a:cs typeface="Arial"/>
            </a:endParaRPr>
          </a:p>
          <a:p>
            <a:pPr marL="469900" indent="-457834">
              <a:lnSpc>
                <a:spcPct val="100000"/>
              </a:lnSpc>
              <a:spcBef>
                <a:spcPts val="890"/>
              </a:spcBef>
              <a:buClr>
                <a:srgbClr val="AB251F"/>
              </a:buClr>
              <a:buAutoNum type="arabicPeriod" startAt="7"/>
              <a:tabLst>
                <a:tab pos="469900" algn="l"/>
                <a:tab pos="470534" algn="l"/>
              </a:tabLst>
            </a:pPr>
            <a:r>
              <a:rPr lang="en-IN" sz="2400" spc="-10" dirty="0">
                <a:solidFill>
                  <a:srgbClr val="404040"/>
                </a:solidFill>
                <a:latin typeface="Arial"/>
                <a:cs typeface="Arial"/>
              </a:rPr>
              <a:t>Disable</a:t>
            </a:r>
            <a:r>
              <a:rPr lang="en-IN" sz="2400" spc="-9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lang="en-IN" sz="2400" spc="-10" dirty="0">
                <a:solidFill>
                  <a:srgbClr val="404040"/>
                </a:solidFill>
                <a:latin typeface="Arial"/>
                <a:cs typeface="Arial"/>
              </a:rPr>
              <a:t>screen</a:t>
            </a:r>
            <a:r>
              <a:rPr lang="en-IN" sz="2400" spc="-13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lang="en-IN" sz="2400" spc="-10" dirty="0">
                <a:solidFill>
                  <a:srgbClr val="404040"/>
                </a:solidFill>
                <a:latin typeface="Arial"/>
                <a:cs typeface="Arial"/>
              </a:rPr>
              <a:t>recording</a:t>
            </a:r>
            <a:r>
              <a:rPr lang="en-IN" sz="2400" spc="-10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lang="en-IN" sz="2400" dirty="0">
                <a:solidFill>
                  <a:srgbClr val="404040"/>
                </a:solidFill>
                <a:latin typeface="Arial"/>
                <a:cs typeface="Arial"/>
              </a:rPr>
              <a:t>on</a:t>
            </a:r>
            <a:r>
              <a:rPr lang="en-IN" sz="2400" spc="-12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lang="en-IN" sz="2400" spc="-20" dirty="0">
                <a:solidFill>
                  <a:srgbClr val="404040"/>
                </a:solidFill>
                <a:latin typeface="Arial"/>
                <a:cs typeface="Arial"/>
              </a:rPr>
              <a:t>Production</a:t>
            </a:r>
            <a:r>
              <a:rPr lang="en-IN" sz="2400" spc="-11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lang="en-IN" sz="2400" spc="-25" dirty="0">
                <a:solidFill>
                  <a:srgbClr val="404040"/>
                </a:solidFill>
                <a:latin typeface="Arial"/>
                <a:cs typeface="Arial"/>
              </a:rPr>
              <a:t>iOS</a:t>
            </a:r>
            <a:endParaRPr lang="en-IN" sz="2400" dirty="0">
              <a:latin typeface="Arial"/>
              <a:cs typeface="Arial"/>
            </a:endParaRPr>
          </a:p>
          <a:p>
            <a:pPr marL="469900" indent="-457834">
              <a:lnSpc>
                <a:spcPct val="100000"/>
              </a:lnSpc>
              <a:spcBef>
                <a:spcPts val="795"/>
              </a:spcBef>
              <a:buClr>
                <a:srgbClr val="AB251F"/>
              </a:buClr>
              <a:buAutoNum type="arabicPeriod" startAt="7"/>
              <a:tabLst>
                <a:tab pos="469900" algn="l"/>
                <a:tab pos="470534" algn="l"/>
              </a:tabLst>
            </a:pPr>
            <a:r>
              <a:rPr lang="en-IN" sz="2400" spc="-10" dirty="0">
                <a:solidFill>
                  <a:srgbClr val="404040"/>
                </a:solidFill>
                <a:latin typeface="Arial"/>
                <a:cs typeface="Arial"/>
              </a:rPr>
              <a:t>Disable</a:t>
            </a:r>
            <a:r>
              <a:rPr lang="en-IN" sz="2400" spc="-9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lang="en-IN" sz="2400" spc="-10" dirty="0">
                <a:solidFill>
                  <a:srgbClr val="404040"/>
                </a:solidFill>
                <a:latin typeface="Arial"/>
                <a:cs typeface="Arial"/>
              </a:rPr>
              <a:t>screen</a:t>
            </a:r>
            <a:r>
              <a:rPr lang="en-IN" sz="2400" spc="-12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lang="en-IN" sz="2400" spc="-10" dirty="0">
                <a:solidFill>
                  <a:srgbClr val="404040"/>
                </a:solidFill>
                <a:latin typeface="Arial"/>
                <a:cs typeface="Arial"/>
              </a:rPr>
              <a:t>capture</a:t>
            </a:r>
            <a:r>
              <a:rPr lang="en-IN" sz="2400" spc="-114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lang="en-IN" sz="2400" dirty="0">
                <a:solidFill>
                  <a:srgbClr val="404040"/>
                </a:solidFill>
                <a:latin typeface="Arial"/>
                <a:cs typeface="Arial"/>
              </a:rPr>
              <a:t>and</a:t>
            </a:r>
            <a:r>
              <a:rPr lang="en-IN" sz="2400" spc="-10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lang="en-IN" sz="2400" spc="-20" dirty="0">
                <a:solidFill>
                  <a:srgbClr val="404040"/>
                </a:solidFill>
                <a:latin typeface="Arial"/>
                <a:cs typeface="Arial"/>
              </a:rPr>
              <a:t>recording</a:t>
            </a:r>
            <a:r>
              <a:rPr lang="en-IN" sz="2400" spc="-10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lang="en-IN" sz="2400" dirty="0">
                <a:solidFill>
                  <a:srgbClr val="404040"/>
                </a:solidFill>
                <a:latin typeface="Arial"/>
                <a:cs typeface="Arial"/>
              </a:rPr>
              <a:t>in</a:t>
            </a:r>
            <a:r>
              <a:rPr lang="en-IN" sz="2400" spc="-10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lang="en-IN" sz="2400" spc="-10" dirty="0">
                <a:solidFill>
                  <a:srgbClr val="404040"/>
                </a:solidFill>
                <a:latin typeface="Arial"/>
                <a:cs typeface="Arial"/>
              </a:rPr>
              <a:t>Android</a:t>
            </a:r>
            <a:endParaRPr lang="en-IN" sz="2400" dirty="0">
              <a:latin typeface="Arial"/>
              <a:cs typeface="Arial"/>
            </a:endParaRPr>
          </a:p>
          <a:p>
            <a:pPr marL="12066">
              <a:lnSpc>
                <a:spcPct val="100000"/>
              </a:lnSpc>
              <a:spcBef>
                <a:spcPts val="805"/>
              </a:spcBef>
              <a:buClr>
                <a:srgbClr val="AB251F"/>
              </a:buClr>
              <a:tabLst>
                <a:tab pos="469900" algn="l"/>
                <a:tab pos="470534" algn="l"/>
              </a:tabLst>
            </a:pPr>
            <a:endParaRPr sz="24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49655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object 4"/>
          <p:cNvGrpSpPr/>
          <p:nvPr/>
        </p:nvGrpSpPr>
        <p:grpSpPr>
          <a:xfrm>
            <a:off x="4976876" y="1028883"/>
            <a:ext cx="5644942" cy="4799537"/>
            <a:chOff x="7313676" y="2534411"/>
            <a:chExt cx="4472940" cy="4184650"/>
          </a:xfrm>
        </p:grpSpPr>
        <p:sp>
          <p:nvSpPr>
            <p:cNvPr id="8" name="object 5"/>
            <p:cNvSpPr/>
            <p:nvPr/>
          </p:nvSpPr>
          <p:spPr>
            <a:xfrm>
              <a:off x="11472672" y="6536435"/>
              <a:ext cx="0" cy="182880"/>
            </a:xfrm>
            <a:custGeom>
              <a:avLst/>
              <a:gdLst/>
              <a:ahLst/>
              <a:cxnLst/>
              <a:rect l="l" t="t" r="r" b="b"/>
              <a:pathLst>
                <a:path h="182879">
                  <a:moveTo>
                    <a:pt x="0" y="0"/>
                  </a:moveTo>
                  <a:lnTo>
                    <a:pt x="0" y="182562"/>
                  </a:lnTo>
                </a:path>
              </a:pathLst>
            </a:custGeom>
            <a:ln w="12192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313676" y="2611399"/>
              <a:ext cx="2252472" cy="4068292"/>
            </a:xfrm>
            <a:prstGeom prst="rect">
              <a:avLst/>
            </a:prstGeom>
          </p:spPr>
        </p:pic>
        <p:pic>
          <p:nvPicPr>
            <p:cNvPr id="10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9526524" y="2534411"/>
              <a:ext cx="2260092" cy="4105655"/>
            </a:xfrm>
            <a:prstGeom prst="rect">
              <a:avLst/>
            </a:prstGeom>
          </p:spPr>
        </p:pic>
      </p:grpSp>
      <p:pic>
        <p:nvPicPr>
          <p:cNvPr id="11" name="object 2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165188" y="1028884"/>
            <a:ext cx="2565354" cy="4799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158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588" y="0"/>
            <a:ext cx="12188825" cy="6858000"/>
          </a:xfrm>
          <a:prstGeom prst="rect">
            <a:avLst/>
          </a:prstGeom>
          <a:noFill/>
          <a:ln>
            <a:solidFill>
              <a:schemeClr val="bg1">
                <a:lumMod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Triangle 14"/>
          <p:cNvSpPr/>
          <p:nvPr/>
        </p:nvSpPr>
        <p:spPr>
          <a:xfrm flipH="1">
            <a:off x="10786923" y="6227449"/>
            <a:ext cx="1403489" cy="630552"/>
          </a:xfrm>
          <a:prstGeom prst="rtTriangle">
            <a:avLst/>
          </a:prstGeom>
          <a:solidFill>
            <a:srgbClr val="E0E8E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2175885" y="2883495"/>
            <a:ext cx="745055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2">
                    <a:lumMod val="75000"/>
                  </a:schemeClr>
                </a:solidFill>
                <a:latin typeface="Open Sans"/>
                <a:cs typeface="Arial Black"/>
              </a:rPr>
              <a:t>Smart Web View</a:t>
            </a:r>
            <a:endParaRPr lang="en-US" sz="6000" b="1" dirty="0"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926881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"/>
          <p:cNvSpPr txBox="1">
            <a:spLocks/>
          </p:cNvSpPr>
          <p:nvPr/>
        </p:nvSpPr>
        <p:spPr>
          <a:xfrm>
            <a:off x="1313573" y="266908"/>
            <a:ext cx="7858136" cy="689932"/>
          </a:xfrm>
          <a:prstGeom prst="rect">
            <a:avLst/>
          </a:prstGeom>
        </p:spPr>
        <p:txBody>
          <a:bodyPr vert="horz" wrap="square" lIns="0" tIns="1270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60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en-IN" dirty="0"/>
              <a:t>What is</a:t>
            </a:r>
            <a:r>
              <a:rPr lang="en-IN" spc="-10" dirty="0"/>
              <a:t> </a:t>
            </a:r>
            <a:r>
              <a:rPr lang="en-IN" dirty="0"/>
              <a:t>a</a:t>
            </a:r>
            <a:r>
              <a:rPr lang="en-IN" spc="-10" dirty="0"/>
              <a:t> </a:t>
            </a:r>
            <a:r>
              <a:rPr lang="en-IN" dirty="0"/>
              <a:t>Smart</a:t>
            </a:r>
            <a:r>
              <a:rPr lang="en-IN" spc="5" dirty="0"/>
              <a:t> </a:t>
            </a:r>
            <a:r>
              <a:rPr lang="en-IN" spc="-10" dirty="0" err="1"/>
              <a:t>WebView</a:t>
            </a:r>
            <a:endParaRPr lang="en-IN" spc="-10" dirty="0"/>
          </a:p>
        </p:txBody>
      </p:sp>
      <p:sp>
        <p:nvSpPr>
          <p:cNvPr id="9" name="object 3"/>
          <p:cNvSpPr txBox="1"/>
          <p:nvPr/>
        </p:nvSpPr>
        <p:spPr>
          <a:xfrm>
            <a:off x="1313573" y="1514471"/>
            <a:ext cx="7246620" cy="44621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4965" indent="-342900">
              <a:lnSpc>
                <a:spcPct val="100000"/>
              </a:lnSpc>
              <a:spcBef>
                <a:spcPts val="100"/>
              </a:spcBef>
              <a:buClr>
                <a:srgbClr val="AB251F"/>
              </a:buClr>
              <a:buChar char="•"/>
              <a:tabLst>
                <a:tab pos="354965" algn="l"/>
                <a:tab pos="355600" algn="l"/>
              </a:tabLst>
            </a:pPr>
            <a:r>
              <a:rPr sz="1800" spc="-20" dirty="0">
                <a:solidFill>
                  <a:srgbClr val="404040"/>
                </a:solidFill>
                <a:latin typeface="Arial"/>
                <a:cs typeface="Arial"/>
              </a:rPr>
              <a:t>Enhanced</a:t>
            </a:r>
            <a:r>
              <a:rPr sz="1800" spc="-9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web</a:t>
            </a:r>
            <a:r>
              <a:rPr sz="1800" spc="-6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view</a:t>
            </a:r>
            <a:r>
              <a:rPr sz="1800" spc="-9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spc="-20" dirty="0">
                <a:solidFill>
                  <a:srgbClr val="404040"/>
                </a:solidFill>
                <a:latin typeface="Arial"/>
                <a:cs typeface="Arial"/>
              </a:rPr>
              <a:t>module</a:t>
            </a:r>
            <a:r>
              <a:rPr sz="1800" spc="-8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spc="-20" dirty="0">
                <a:solidFill>
                  <a:srgbClr val="404040"/>
                </a:solidFill>
                <a:latin typeface="Arial"/>
                <a:cs typeface="Arial"/>
              </a:rPr>
              <a:t>referred</a:t>
            </a:r>
            <a:r>
              <a:rPr sz="1800" spc="-9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to</a:t>
            </a:r>
            <a:r>
              <a:rPr sz="1800" spc="-9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as</a:t>
            </a:r>
            <a:r>
              <a:rPr sz="1800" spc="-9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the</a:t>
            </a:r>
            <a:r>
              <a:rPr sz="1800" spc="-9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404040"/>
                </a:solidFill>
                <a:latin typeface="Arial"/>
                <a:cs typeface="Arial"/>
              </a:rPr>
              <a:t>Smart</a:t>
            </a:r>
            <a:r>
              <a:rPr sz="1800" spc="-9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404040"/>
                </a:solidFill>
                <a:latin typeface="Arial"/>
                <a:cs typeface="Arial"/>
              </a:rPr>
              <a:t>WebView.</a:t>
            </a:r>
            <a:endParaRPr sz="1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buClr>
                <a:srgbClr val="AB251F"/>
              </a:buClr>
              <a:buFont typeface="Arial"/>
              <a:buChar char="•"/>
            </a:pPr>
            <a:endParaRPr sz="2000" dirty="0">
              <a:latin typeface="Arial"/>
              <a:cs typeface="Arial"/>
            </a:endParaRPr>
          </a:p>
          <a:p>
            <a:pPr marL="354965" marR="385445" indent="-342900">
              <a:lnSpc>
                <a:spcPct val="100000"/>
              </a:lnSpc>
              <a:spcBef>
                <a:spcPts val="1455"/>
              </a:spcBef>
              <a:buClr>
                <a:srgbClr val="AB251F"/>
              </a:buClr>
              <a:buChar char="•"/>
              <a:tabLst>
                <a:tab pos="354965" algn="l"/>
                <a:tab pos="355600" algn="l"/>
              </a:tabLst>
            </a:pPr>
            <a:r>
              <a:rPr sz="1800" spc="-20" dirty="0">
                <a:solidFill>
                  <a:srgbClr val="404040"/>
                </a:solidFill>
                <a:latin typeface="Arial"/>
                <a:cs typeface="Arial"/>
              </a:rPr>
              <a:t>Bridge</a:t>
            </a:r>
            <a:r>
              <a:rPr sz="1800" spc="-10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spc="-20" dirty="0">
                <a:solidFill>
                  <a:srgbClr val="404040"/>
                </a:solidFill>
                <a:latin typeface="Arial"/>
                <a:cs typeface="Arial"/>
              </a:rPr>
              <a:t>between</a:t>
            </a:r>
            <a:r>
              <a:rPr sz="1800" spc="-6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the</a:t>
            </a:r>
            <a:r>
              <a:rPr sz="1800" spc="-11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404040"/>
                </a:solidFill>
                <a:latin typeface="Arial"/>
                <a:cs typeface="Arial"/>
              </a:rPr>
              <a:t>native</a:t>
            </a:r>
            <a:r>
              <a:rPr sz="1800" spc="-10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spc="-20" dirty="0">
                <a:solidFill>
                  <a:srgbClr val="404040"/>
                </a:solidFill>
                <a:latin typeface="Arial"/>
                <a:cs typeface="Arial"/>
              </a:rPr>
              <a:t>GMAL</a:t>
            </a:r>
            <a:r>
              <a:rPr sz="1800" spc="-10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app</a:t>
            </a:r>
            <a:r>
              <a:rPr sz="1800" spc="-10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and</a:t>
            </a:r>
            <a:r>
              <a:rPr sz="1800" spc="-10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the</a:t>
            </a:r>
            <a:r>
              <a:rPr sz="1800" spc="-10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Web</a:t>
            </a:r>
            <a:r>
              <a:rPr sz="1800" spc="-11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App</a:t>
            </a:r>
            <a:r>
              <a:rPr sz="1800" spc="-10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(web</a:t>
            </a:r>
            <a:r>
              <a:rPr sz="1800" spc="-7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404040"/>
                </a:solidFill>
                <a:latin typeface="Arial"/>
                <a:cs typeface="Arial"/>
              </a:rPr>
              <a:t>site) </a:t>
            </a:r>
            <a:r>
              <a:rPr sz="1800" spc="-20" dirty="0">
                <a:solidFill>
                  <a:srgbClr val="404040"/>
                </a:solidFill>
                <a:latin typeface="Arial"/>
                <a:cs typeface="Arial"/>
              </a:rPr>
              <a:t>embedded</a:t>
            </a:r>
            <a:r>
              <a:rPr sz="1800" spc="-7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in</a:t>
            </a:r>
            <a:r>
              <a:rPr sz="1800" spc="-9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the</a:t>
            </a:r>
            <a:r>
              <a:rPr sz="1800" spc="-9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404040"/>
                </a:solidFill>
                <a:latin typeface="Arial"/>
                <a:cs typeface="Arial"/>
              </a:rPr>
              <a:t>WebView</a:t>
            </a:r>
            <a:endParaRPr sz="1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buClr>
                <a:srgbClr val="AB251F"/>
              </a:buClr>
              <a:buFont typeface="Arial"/>
              <a:buChar char="•"/>
            </a:pPr>
            <a:endParaRPr sz="2000" dirty="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475"/>
              </a:spcBef>
              <a:buClr>
                <a:srgbClr val="AB251F"/>
              </a:buClr>
              <a:buChar char="•"/>
              <a:tabLst>
                <a:tab pos="354965" algn="l"/>
                <a:tab pos="355600" algn="l"/>
              </a:tabLst>
            </a:pPr>
            <a:r>
              <a:rPr sz="1800" spc="-10" dirty="0">
                <a:solidFill>
                  <a:srgbClr val="404040"/>
                </a:solidFill>
                <a:latin typeface="Arial"/>
                <a:cs typeface="Arial"/>
              </a:rPr>
              <a:t>Smart</a:t>
            </a:r>
            <a:r>
              <a:rPr sz="1800" spc="-8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spc="-20" dirty="0">
                <a:solidFill>
                  <a:srgbClr val="404040"/>
                </a:solidFill>
                <a:latin typeface="Arial"/>
                <a:cs typeface="Arial"/>
              </a:rPr>
              <a:t>WebView</a:t>
            </a:r>
            <a:r>
              <a:rPr sz="1800" spc="-7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spc="-25" dirty="0">
                <a:solidFill>
                  <a:srgbClr val="404040"/>
                </a:solidFill>
                <a:latin typeface="Arial"/>
                <a:cs typeface="Arial"/>
              </a:rPr>
              <a:t>functionalities</a:t>
            </a:r>
            <a:r>
              <a:rPr sz="1800" spc="-5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404040"/>
                </a:solidFill>
                <a:latin typeface="Arial"/>
                <a:cs typeface="Arial"/>
              </a:rPr>
              <a:t>allows:</a:t>
            </a:r>
            <a:endParaRPr sz="1800" dirty="0">
              <a:latin typeface="Arial"/>
              <a:cs typeface="Arial"/>
            </a:endParaRPr>
          </a:p>
          <a:p>
            <a:pPr marL="702945" lvl="1" indent="-343535">
              <a:lnSpc>
                <a:spcPct val="100000"/>
              </a:lnSpc>
              <a:spcBef>
                <a:spcPts val="600"/>
              </a:spcBef>
              <a:buChar char="•"/>
              <a:tabLst>
                <a:tab pos="702945" algn="l"/>
                <a:tab pos="703580" algn="l"/>
              </a:tabLst>
            </a:pP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Authenticate</a:t>
            </a:r>
            <a:r>
              <a:rPr sz="1800" spc="-1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the</a:t>
            </a:r>
            <a:r>
              <a:rPr sz="1800" spc="-2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user</a:t>
            </a:r>
            <a:r>
              <a:rPr sz="1800" spc="-1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from</a:t>
            </a:r>
            <a:r>
              <a:rPr sz="1800" spc="-1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the</a:t>
            </a:r>
            <a:r>
              <a:rPr sz="1800" spc="-1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spc="-25" dirty="0">
                <a:solidFill>
                  <a:srgbClr val="404040"/>
                </a:solidFill>
                <a:latin typeface="Arial"/>
                <a:cs typeface="Arial"/>
              </a:rPr>
              <a:t>app</a:t>
            </a:r>
            <a:endParaRPr sz="1800" dirty="0">
              <a:latin typeface="Arial"/>
              <a:cs typeface="Arial"/>
            </a:endParaRPr>
          </a:p>
          <a:p>
            <a:pPr marL="702945" lvl="1" indent="-343535">
              <a:lnSpc>
                <a:spcPct val="100000"/>
              </a:lnSpc>
              <a:spcBef>
                <a:spcPts val="600"/>
              </a:spcBef>
              <a:buChar char="•"/>
              <a:tabLst>
                <a:tab pos="702945" algn="l"/>
                <a:tab pos="703580" algn="l"/>
              </a:tabLst>
            </a:pP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Use</a:t>
            </a:r>
            <a:r>
              <a:rPr sz="1800" spc="-3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native</a:t>
            </a:r>
            <a:r>
              <a:rPr sz="1800" spc="-1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app</a:t>
            </a:r>
            <a:r>
              <a:rPr sz="1800" spc="-1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functionality such</a:t>
            </a:r>
            <a:r>
              <a:rPr sz="1800" spc="-2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as</a:t>
            </a:r>
            <a:r>
              <a:rPr sz="1800" spc="-1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404040"/>
                </a:solidFill>
                <a:latin typeface="Arial"/>
                <a:cs typeface="Arial"/>
              </a:rPr>
              <a:t>location</a:t>
            </a:r>
            <a:endParaRPr sz="1800" dirty="0">
              <a:latin typeface="Arial"/>
              <a:cs typeface="Arial"/>
            </a:endParaRPr>
          </a:p>
          <a:p>
            <a:pPr marL="702945" marR="440690" lvl="1" indent="-342900">
              <a:lnSpc>
                <a:spcPct val="100000"/>
              </a:lnSpc>
              <a:spcBef>
                <a:spcPts val="600"/>
              </a:spcBef>
              <a:buChar char="•"/>
              <a:tabLst>
                <a:tab pos="702945" algn="l"/>
                <a:tab pos="703580" algn="l"/>
              </a:tabLst>
            </a:pP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Send</a:t>
            </a:r>
            <a:r>
              <a:rPr sz="1800" spc="-2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data</a:t>
            </a:r>
            <a:r>
              <a:rPr sz="1800" spc="-2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to</a:t>
            </a:r>
            <a:r>
              <a:rPr sz="1800" spc="-3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Plexure</a:t>
            </a:r>
            <a:r>
              <a:rPr sz="1800" spc="-1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and</a:t>
            </a:r>
            <a:r>
              <a:rPr sz="1800" spc="-3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activate</a:t>
            </a:r>
            <a:r>
              <a:rPr sz="1800" spc="-2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offers/rewards</a:t>
            </a:r>
            <a:r>
              <a:rPr sz="1800" spc="1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for</a:t>
            </a:r>
            <a:r>
              <a:rPr sz="1800" spc="-2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404040"/>
                </a:solidFill>
                <a:latin typeface="Arial"/>
                <a:cs typeface="Arial"/>
              </a:rPr>
              <a:t>specific </a:t>
            </a:r>
            <a:r>
              <a:rPr sz="1800" spc="-20" dirty="0">
                <a:solidFill>
                  <a:srgbClr val="404040"/>
                </a:solidFill>
                <a:latin typeface="Arial"/>
                <a:cs typeface="Arial"/>
              </a:rPr>
              <a:t>user</a:t>
            </a:r>
            <a:endParaRPr sz="1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285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5"/>
              </a:spcBef>
            </a:pPr>
            <a:r>
              <a:rPr sz="1400" spc="-30" dirty="0">
                <a:solidFill>
                  <a:srgbClr val="404040"/>
                </a:solidFill>
                <a:latin typeface="Arial"/>
                <a:cs typeface="Arial"/>
              </a:rPr>
              <a:t>Reference:</a:t>
            </a:r>
            <a:r>
              <a:rPr sz="1400" spc="-3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400" spc="-10" dirty="0">
                <a:solidFill>
                  <a:srgbClr val="404040"/>
                </a:solidFill>
                <a:latin typeface="Arial"/>
                <a:cs typeface="Arial"/>
              </a:rPr>
              <a:t>https://us- </a:t>
            </a:r>
            <a:r>
              <a:rPr sz="1400" spc="-35" dirty="0">
                <a:solidFill>
                  <a:srgbClr val="404040"/>
                </a:solidFill>
                <a:latin typeface="Arial"/>
                <a:cs typeface="Arial"/>
              </a:rPr>
              <a:t>confluence.mcd.com/pages/viewpage.action?spaceKey=GL&amp;title=Creating+Content+for+Smart</a:t>
            </a:r>
            <a:endParaRPr sz="14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400" spc="-10" dirty="0">
                <a:solidFill>
                  <a:srgbClr val="404040"/>
                </a:solidFill>
                <a:latin typeface="Arial"/>
                <a:cs typeface="Arial"/>
              </a:rPr>
              <a:t>+WebViews</a:t>
            </a:r>
            <a:endParaRPr sz="1400" dirty="0">
              <a:latin typeface="Arial"/>
              <a:cs typeface="Arial"/>
            </a:endParaRPr>
          </a:p>
        </p:txBody>
      </p:sp>
      <p:pic>
        <p:nvPicPr>
          <p:cNvPr id="10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8513228" y="1522241"/>
            <a:ext cx="3360432" cy="4403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194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"/>
          <p:cNvSpPr txBox="1">
            <a:spLocks/>
          </p:cNvSpPr>
          <p:nvPr/>
        </p:nvSpPr>
        <p:spPr>
          <a:xfrm>
            <a:off x="1447800" y="471560"/>
            <a:ext cx="10435208" cy="628377"/>
          </a:xfrm>
          <a:prstGeom prst="rect">
            <a:avLst/>
          </a:prstGeom>
        </p:spPr>
        <p:txBody>
          <a:bodyPr vert="horz" wrap="square" lIns="0" tIns="1270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60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</a:pPr>
            <a:r>
              <a:rPr lang="en-IN" sz="4000" dirty="0"/>
              <a:t>What</a:t>
            </a:r>
            <a:r>
              <a:rPr lang="en-IN" sz="4000" spc="-25" dirty="0"/>
              <a:t> </a:t>
            </a:r>
            <a:r>
              <a:rPr lang="en-IN" sz="4000" dirty="0"/>
              <a:t>can</a:t>
            </a:r>
            <a:r>
              <a:rPr lang="en-IN" sz="4000" spc="-20" dirty="0"/>
              <a:t> </a:t>
            </a:r>
            <a:r>
              <a:rPr lang="en-IN" sz="4000" dirty="0"/>
              <a:t>Smart</a:t>
            </a:r>
            <a:r>
              <a:rPr lang="en-IN" sz="4000" spc="-20" dirty="0"/>
              <a:t> </a:t>
            </a:r>
            <a:r>
              <a:rPr lang="en-IN" sz="4000" dirty="0"/>
              <a:t>Web</a:t>
            </a:r>
            <a:r>
              <a:rPr lang="en-IN" sz="4000" spc="-35" dirty="0"/>
              <a:t> </a:t>
            </a:r>
            <a:r>
              <a:rPr lang="en-IN" sz="4000" dirty="0"/>
              <a:t>View</a:t>
            </a:r>
            <a:r>
              <a:rPr lang="en-IN" sz="4000" spc="-30" dirty="0"/>
              <a:t> </a:t>
            </a:r>
            <a:r>
              <a:rPr lang="en-IN" sz="4000" dirty="0"/>
              <a:t>Be</a:t>
            </a:r>
            <a:r>
              <a:rPr lang="en-IN" sz="4000" spc="-30" dirty="0"/>
              <a:t> </a:t>
            </a:r>
            <a:r>
              <a:rPr lang="en-IN" sz="4000" dirty="0"/>
              <a:t>Used</a:t>
            </a:r>
            <a:r>
              <a:rPr lang="en-IN" sz="4000" spc="-20" dirty="0"/>
              <a:t> for?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9012043"/>
              </p:ext>
            </p:extLst>
          </p:nvPr>
        </p:nvGraphicFramePr>
        <p:xfrm>
          <a:off x="1944467" y="1243667"/>
          <a:ext cx="9127837" cy="5166369"/>
        </p:xfrm>
        <a:graphic>
          <a:graphicData uri="http://schemas.openxmlformats.org/drawingml/2006/table">
            <a:tbl>
              <a:tblPr/>
              <a:tblGrid>
                <a:gridCol w="2848285">
                  <a:extLst>
                    <a:ext uri="{9D8B030D-6E8A-4147-A177-3AD203B41FA5}">
                      <a16:colId xmlns:a16="http://schemas.microsoft.com/office/drawing/2014/main" val="145365621"/>
                    </a:ext>
                  </a:extLst>
                </a:gridCol>
                <a:gridCol w="3381297">
                  <a:extLst>
                    <a:ext uri="{9D8B030D-6E8A-4147-A177-3AD203B41FA5}">
                      <a16:colId xmlns:a16="http://schemas.microsoft.com/office/drawing/2014/main" val="1385480410"/>
                    </a:ext>
                  </a:extLst>
                </a:gridCol>
                <a:gridCol w="2898255">
                  <a:extLst>
                    <a:ext uri="{9D8B030D-6E8A-4147-A177-3AD203B41FA5}">
                      <a16:colId xmlns:a16="http://schemas.microsoft.com/office/drawing/2014/main" val="756199871"/>
                    </a:ext>
                  </a:extLst>
                </a:gridCol>
              </a:tblGrid>
              <a:tr h="11827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approval needed</a:t>
                      </a:r>
                      <a:b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se are existing approved uses of the</a:t>
                      </a:r>
                      <a:b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WV</a:t>
                      </a:r>
                      <a:b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" marR="4815" marT="481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iew Needed</a:t>
                      </a:r>
                      <a:b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rm your DAT (except for Sweepstakes where only local compliance needs to be gained)</a:t>
                      </a:r>
                      <a:b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" marR="4815" marT="481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Allowed to Do</a:t>
                      </a:r>
                      <a:b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se features exist in GMAL / GMA so competing functionality should not be developed to ensure product governance is managed</a:t>
                      </a:r>
                      <a:b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" marR="4815" marT="481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4861487"/>
                  </a:ext>
                </a:extLst>
              </a:tr>
              <a:tr h="228792">
                <a:tc>
                  <a:txBody>
                    <a:bodyPr/>
                    <a:lstStyle/>
                    <a:p>
                      <a:pPr algn="l" fontAlgn="t"/>
                      <a:r>
                        <a:rPr lang="en-IN" sz="1200" b="0" i="0" u="none" strike="noStrike" dirty="0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Simple games without any rewards</a:t>
                      </a:r>
                    </a:p>
                  </a:txBody>
                  <a:tcPr marL="4815" marR="4815" marT="481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200" b="0" i="0" u="none" strike="noStrike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3rd Party Ordering / Delivery Integration</a:t>
                      </a:r>
                    </a:p>
                  </a:txBody>
                  <a:tcPr marL="4815" marR="4815" marT="481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200" b="0" i="0" u="none" strike="noStrike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In-Store Mobile Order and Pay</a:t>
                      </a:r>
                    </a:p>
                  </a:txBody>
                  <a:tcPr marL="4815" marR="4815" marT="481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230850"/>
                  </a:ext>
                </a:extLst>
              </a:tr>
              <a:tr h="986482">
                <a:tc>
                  <a:txBody>
                    <a:bodyPr/>
                    <a:lstStyle/>
                    <a:p>
                      <a:pPr algn="l" fontAlgn="t"/>
                      <a:r>
                        <a:rPr lang="en-IN" sz="1200" b="0" i="0" u="none" strike="noStrike" dirty="0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Games which generate a single reward for the customer or which have some controls applied (using </a:t>
                      </a:r>
                      <a:r>
                        <a:rPr lang="en-IN" sz="1200" b="0" i="0" u="none" strike="noStrike" dirty="0" err="1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Plexure</a:t>
                      </a:r>
                      <a:r>
                        <a:rPr lang="en-IN" sz="1200" b="0" i="0" u="none" strike="noStrike" dirty="0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 reward activation fraud protections) to regulate the number of rewards generated </a:t>
                      </a:r>
                    </a:p>
                  </a:txBody>
                  <a:tcPr marL="4815" marR="4815" marT="481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200" b="0" i="0" u="none" strike="noStrike" dirty="0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Any campaign which would make a lot of calls to the system per single user and/or would encourage a lot of users to interact at a very specific time</a:t>
                      </a:r>
                    </a:p>
                  </a:txBody>
                  <a:tcPr marL="4815" marR="4815" marT="481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200" b="0" i="0" u="none" strike="noStrike" dirty="0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Any campaign which calls on the Smart </a:t>
                      </a:r>
                      <a:r>
                        <a:rPr lang="en-IN" sz="1200" b="0" i="0" u="none" strike="noStrike" dirty="0" err="1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WebView</a:t>
                      </a:r>
                      <a:r>
                        <a:rPr lang="en-IN" sz="1200" b="0" i="0" u="none" strike="noStrike" dirty="0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 bridge (and any of its plugins) that encourages all users in the market to interact at a very specific time</a:t>
                      </a:r>
                    </a:p>
                  </a:txBody>
                  <a:tcPr marL="4815" marR="4815" marT="481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638164"/>
                  </a:ext>
                </a:extLst>
              </a:tr>
              <a:tr h="790219">
                <a:tc>
                  <a:txBody>
                    <a:bodyPr/>
                    <a:lstStyle/>
                    <a:p>
                      <a:pPr algn="l" fontAlgn="t"/>
                      <a:r>
                        <a:rPr lang="en-IN" sz="1200" b="0" i="0" u="none" strike="noStrike" dirty="0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Customer feedback surveys</a:t>
                      </a:r>
                    </a:p>
                  </a:txBody>
                  <a:tcPr marL="4815" marR="4815" marT="481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200" b="0" i="0" u="none" strike="noStrike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Anything that is not clearly in the </a:t>
                      </a:r>
                      <a:r>
                        <a:rPr lang="en-IN" sz="1200" b="1" i="0" u="none" strike="noStrike">
                          <a:solidFill>
                            <a:srgbClr val="008000"/>
                          </a:solidFill>
                          <a:effectLst/>
                          <a:latin typeface="Segoe UI" panose="020B0502040204020203" pitchFamily="34" charset="0"/>
                        </a:rPr>
                        <a:t>Green</a:t>
                      </a:r>
                      <a:r>
                        <a:rPr lang="en-IN" sz="1200" b="0" i="0" u="none" strike="noStrike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 or </a:t>
                      </a:r>
                      <a:r>
                        <a:rPr lang="en-IN" sz="1200" b="1" i="0" u="none" strike="noStrike">
                          <a:solidFill>
                            <a:srgbClr val="800000"/>
                          </a:solidFill>
                          <a:effectLst/>
                          <a:latin typeface="Segoe UI" panose="020B0502040204020203" pitchFamily="34" charset="0"/>
                        </a:rPr>
                        <a:t>Red </a:t>
                      </a:r>
                      <a:r>
                        <a:rPr lang="en-IN" sz="1200" b="0" i="0" u="none" strike="noStrike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column</a:t>
                      </a:r>
                    </a:p>
                  </a:txBody>
                  <a:tcPr marL="4815" marR="4815" marT="481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200" b="0" i="0" u="none" strike="noStrike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Anything which does not comply with McDonald's Information Governance Policy or other Legal, Fiscal, Security or Marketing/Brand policies</a:t>
                      </a:r>
                    </a:p>
                  </a:txBody>
                  <a:tcPr marL="4815" marR="4815" marT="481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6157789"/>
                  </a:ext>
                </a:extLst>
              </a:tr>
              <a:tr h="79021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200" b="0" i="0" u="none" strike="noStrike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Simple webpages with no significant user interaction or data transfer </a:t>
                      </a:r>
                    </a:p>
                  </a:txBody>
                  <a:tcPr marL="4815" marR="4815" marT="48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200" b="0" i="0" u="none" strike="noStrike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Games which could generate more than one reward for a user and/or campaigns that don't make use of the reward activation fraud protections on Plexure</a:t>
                      </a:r>
                    </a:p>
                  </a:txBody>
                  <a:tcPr marL="4815" marR="4815" marT="481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200" b="0" i="0" u="none" strike="noStrike" dirty="0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Any site designed primarily to extract customer data from GMA </a:t>
                      </a:r>
                      <a:r>
                        <a:rPr lang="en-IN" sz="1200" b="0" i="0" u="none" strike="noStrike" dirty="0" err="1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Lite</a:t>
                      </a:r>
                      <a:r>
                        <a:rPr lang="en-IN" sz="1200" b="0" i="0" u="none" strike="noStrike" dirty="0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 in order to store/process it elsewhere</a:t>
                      </a:r>
                    </a:p>
                  </a:txBody>
                  <a:tcPr marL="4815" marR="4815" marT="481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8743163"/>
                  </a:ext>
                </a:extLst>
              </a:tr>
              <a:tr h="397693">
                <a:tc>
                  <a:txBody>
                    <a:bodyPr/>
                    <a:lstStyle/>
                    <a:p>
                      <a:pPr algn="l" fontAlgn="t"/>
                      <a:endParaRPr lang="en-IN" sz="1200" b="0" i="0" u="none" strike="noStrike" dirty="0">
                        <a:solidFill>
                          <a:srgbClr val="172B4D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4815" marR="4815" marT="481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200" b="0" i="0" u="none" strike="noStrike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Payment Wallets</a:t>
                      </a:r>
                    </a:p>
                  </a:txBody>
                  <a:tcPr marL="4815" marR="4815" marT="481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200" b="0" i="0" u="none" strike="noStrike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An alternative to the existing loyalty functionality in GMA Lite</a:t>
                      </a:r>
                    </a:p>
                  </a:txBody>
                  <a:tcPr marL="4815" marR="4815" marT="481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521463"/>
                  </a:ext>
                </a:extLst>
              </a:tr>
              <a:tr h="790219">
                <a:tc>
                  <a:txBody>
                    <a:bodyPr/>
                    <a:lstStyle/>
                    <a:p>
                      <a:pPr algn="l" fontAlgn="t"/>
                      <a:endParaRPr lang="en-IN" sz="1200" b="0" i="0" u="none" strike="noStrike" dirty="0">
                        <a:solidFill>
                          <a:srgbClr val="172B4D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4815" marR="4815" marT="481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200" b="0" i="0" u="none" strike="noStrike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Sweepstakes / Random Draws with non-food or cash prizes (Market Legal approval will be needed and a Certified Gaming Agency Partner may be required)</a:t>
                      </a:r>
                    </a:p>
                  </a:txBody>
                  <a:tcPr marL="4815" marR="4815" marT="481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200" b="0" i="0" u="none" strike="noStrike" dirty="0">
                          <a:solidFill>
                            <a:srgbClr val="172B4D"/>
                          </a:solidFill>
                          <a:effectLst/>
                          <a:latin typeface="Segoe UI" panose="020B0502040204020203" pitchFamily="34" charset="0"/>
                        </a:rPr>
                        <a:t> </a:t>
                      </a:r>
                    </a:p>
                  </a:txBody>
                  <a:tcPr marL="4815" marR="4815" marT="481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55114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9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588" y="0"/>
            <a:ext cx="12188825" cy="6858000"/>
          </a:xfrm>
          <a:prstGeom prst="rect">
            <a:avLst/>
          </a:prstGeom>
          <a:noFill/>
          <a:ln>
            <a:solidFill>
              <a:schemeClr val="bg1">
                <a:lumMod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Triangle 14"/>
          <p:cNvSpPr/>
          <p:nvPr/>
        </p:nvSpPr>
        <p:spPr>
          <a:xfrm flipH="1">
            <a:off x="10786923" y="6227449"/>
            <a:ext cx="1403489" cy="630552"/>
          </a:xfrm>
          <a:prstGeom prst="rtTriangle">
            <a:avLst/>
          </a:prstGeom>
          <a:solidFill>
            <a:srgbClr val="E0E8E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2175885" y="2883495"/>
            <a:ext cx="745055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2">
                    <a:lumMod val="75000"/>
                  </a:schemeClr>
                </a:solidFill>
                <a:latin typeface="Open Sans"/>
                <a:cs typeface="Arial Black"/>
              </a:rPr>
              <a:t>Market Engine</a:t>
            </a:r>
            <a:endParaRPr lang="en-US" sz="6000" b="1" dirty="0"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387058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NzhzfZzNJjMqRq4tRk5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nmXzbhQ1e2KJ7Cc5qX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NzhzfZzNJjMqRq4tRk5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CD_2020_v1.5">
  <a:themeElements>
    <a:clrScheme name="Custom 67">
      <a:dk1>
        <a:srgbClr val="000000"/>
      </a:dk1>
      <a:lt1>
        <a:srgbClr val="FFFFFF"/>
      </a:lt1>
      <a:dk2>
        <a:srgbClr val="53565A"/>
      </a:dk2>
      <a:lt2>
        <a:srgbClr val="D9D9D6"/>
      </a:lt2>
      <a:accent1>
        <a:srgbClr val="FFBC0D"/>
      </a:accent1>
      <a:accent2>
        <a:srgbClr val="DB0007"/>
      </a:accent2>
      <a:accent3>
        <a:srgbClr val="A9C23F"/>
      </a:accent3>
      <a:accent4>
        <a:srgbClr val="4C9FC8"/>
      </a:accent4>
      <a:accent5>
        <a:srgbClr val="B69A81"/>
      </a:accent5>
      <a:accent6>
        <a:srgbClr val="8A8A8D"/>
      </a:accent6>
      <a:hlink>
        <a:srgbClr val="DEBC8B"/>
      </a:hlink>
      <a:folHlink>
        <a:srgbClr val="D7D2CB"/>
      </a:folHlink>
    </a:clrScheme>
    <a:fontScheme name="Custom 36">
      <a:majorFont>
        <a:latin typeface="Speedee"/>
        <a:ea typeface=""/>
        <a:cs typeface=""/>
      </a:majorFont>
      <a:minorFont>
        <a:latin typeface="Speede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CD_2020_v1.5" id="{5E9D6323-F097-423A-9CA1-EB45B0C5B867}" vid="{ACA3A455-B99D-4DBA-827F-DCB14732BB75}"/>
    </a:ext>
  </a:extLst>
</a:theme>
</file>

<file path=ppt/theme/theme2.xml><?xml version="1.0" encoding="utf-8"?>
<a:theme xmlns:a="http://schemas.openxmlformats.org/drawingml/2006/main" name="1_McD">
  <a:themeElements>
    <a:clrScheme name="Custom 1">
      <a:dk1>
        <a:srgbClr val="000000"/>
      </a:dk1>
      <a:lt1>
        <a:srgbClr val="FFFFFF"/>
      </a:lt1>
      <a:dk2>
        <a:srgbClr val="5F5F5F"/>
      </a:dk2>
      <a:lt2>
        <a:srgbClr val="E6E6E6"/>
      </a:lt2>
      <a:accent1>
        <a:srgbClr val="FFB71B"/>
      </a:accent1>
      <a:accent2>
        <a:srgbClr val="C8161D"/>
      </a:accent2>
      <a:accent3>
        <a:srgbClr val="555555"/>
      </a:accent3>
      <a:accent4>
        <a:srgbClr val="878787"/>
      </a:accent4>
      <a:accent5>
        <a:srgbClr val="BEBEBE"/>
      </a:accent5>
      <a:accent6>
        <a:srgbClr val="DCDCDC"/>
      </a:accent6>
      <a:hlink>
        <a:srgbClr val="FFB71B"/>
      </a:hlink>
      <a:folHlink>
        <a:srgbClr val="000000"/>
      </a:folHlink>
    </a:clrScheme>
    <a:fontScheme name="McD Vis ID">
      <a:majorFont>
        <a:latin typeface="Speedee"/>
        <a:ea typeface=""/>
        <a:cs typeface=""/>
      </a:majorFont>
      <a:minorFont>
        <a:latin typeface="Speede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bg1"/>
          </a:solidFill>
        </a:ln>
      </a:spPr>
      <a:bodyPr wrap="none" lIns="182880" tIns="91440" rIns="182880" bIns="91440" rtlCol="0" anchor="ctr">
        <a:spAutoFit/>
      </a:bodyPr>
      <a:lstStyle>
        <a:defPPr algn="ctr">
          <a:lnSpc>
            <a:spcPct val="90000"/>
          </a:lnSpc>
          <a:spcBef>
            <a:spcPts val="1200"/>
          </a:spcBef>
          <a:defRPr sz="18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McD">
  <a:themeElements>
    <a:clrScheme name="Custom 1">
      <a:dk1>
        <a:srgbClr val="000000"/>
      </a:dk1>
      <a:lt1>
        <a:srgbClr val="FFFFFF"/>
      </a:lt1>
      <a:dk2>
        <a:srgbClr val="5F5F5F"/>
      </a:dk2>
      <a:lt2>
        <a:srgbClr val="E6E6E6"/>
      </a:lt2>
      <a:accent1>
        <a:srgbClr val="FFB71B"/>
      </a:accent1>
      <a:accent2>
        <a:srgbClr val="C8161D"/>
      </a:accent2>
      <a:accent3>
        <a:srgbClr val="555555"/>
      </a:accent3>
      <a:accent4>
        <a:srgbClr val="878787"/>
      </a:accent4>
      <a:accent5>
        <a:srgbClr val="BEBEBE"/>
      </a:accent5>
      <a:accent6>
        <a:srgbClr val="DCDCDC"/>
      </a:accent6>
      <a:hlink>
        <a:srgbClr val="FFB71B"/>
      </a:hlink>
      <a:folHlink>
        <a:srgbClr val="000000"/>
      </a:folHlink>
    </a:clrScheme>
    <a:fontScheme name="McD Vis ID">
      <a:majorFont>
        <a:latin typeface="Speedee"/>
        <a:ea typeface=""/>
        <a:cs typeface=""/>
      </a:majorFont>
      <a:minorFont>
        <a:latin typeface="Speede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bg1"/>
          </a:solidFill>
        </a:ln>
      </a:spPr>
      <a:bodyPr wrap="none" lIns="182880" tIns="91440" rIns="182880" bIns="91440" rtlCol="0" anchor="ctr">
        <a:spAutoFit/>
      </a:bodyPr>
      <a:lstStyle>
        <a:defPPr algn="ctr">
          <a:lnSpc>
            <a:spcPct val="90000"/>
          </a:lnSpc>
          <a:spcBef>
            <a:spcPts val="1200"/>
          </a:spcBef>
          <a:defRPr sz="18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MCD_2020_v1.5">
  <a:themeElements>
    <a:clrScheme name="Custom 67">
      <a:dk1>
        <a:srgbClr val="000000"/>
      </a:dk1>
      <a:lt1>
        <a:srgbClr val="FFFFFF"/>
      </a:lt1>
      <a:dk2>
        <a:srgbClr val="53565A"/>
      </a:dk2>
      <a:lt2>
        <a:srgbClr val="D9D9D6"/>
      </a:lt2>
      <a:accent1>
        <a:srgbClr val="FFBC0D"/>
      </a:accent1>
      <a:accent2>
        <a:srgbClr val="DB0007"/>
      </a:accent2>
      <a:accent3>
        <a:srgbClr val="A9C23F"/>
      </a:accent3>
      <a:accent4>
        <a:srgbClr val="4C9FC8"/>
      </a:accent4>
      <a:accent5>
        <a:srgbClr val="B69A81"/>
      </a:accent5>
      <a:accent6>
        <a:srgbClr val="8A8A8D"/>
      </a:accent6>
      <a:hlink>
        <a:srgbClr val="DEBC8B"/>
      </a:hlink>
      <a:folHlink>
        <a:srgbClr val="D7D2CB"/>
      </a:folHlink>
    </a:clrScheme>
    <a:fontScheme name="Custom 36">
      <a:majorFont>
        <a:latin typeface="Speedee"/>
        <a:ea typeface=""/>
        <a:cs typeface=""/>
      </a:majorFont>
      <a:minorFont>
        <a:latin typeface="Speede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CD_2020_v1.5" id="{5E9D6323-F097-423A-9CA1-EB45B0C5B867}" vid="{ACA3A455-B99D-4DBA-827F-DCB14732BB75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98c6ba5-f6a6-40ed-87f4-d2392211ed2b" xsi:nil="true"/>
    <lcf76f155ced4ddcb4097134ff3c332f xmlns="32d0f106-84ba-4729-858f-c7f38726f8de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35FE645942BA42A47725B1E6544B1F" ma:contentTypeVersion="18" ma:contentTypeDescription="Create a new document." ma:contentTypeScope="" ma:versionID="15b2be8818bc28d429ce1f470a55e463">
  <xsd:schema xmlns:xsd="http://www.w3.org/2001/XMLSchema" xmlns:xs="http://www.w3.org/2001/XMLSchema" xmlns:p="http://schemas.microsoft.com/office/2006/metadata/properties" xmlns:ns2="b98c6ba5-f6a6-40ed-87f4-d2392211ed2b" xmlns:ns3="32d0f106-84ba-4729-858f-c7f38726f8de" targetNamespace="http://schemas.microsoft.com/office/2006/metadata/properties" ma:root="true" ma:fieldsID="1e6fce9524bbfd6bc38c0868cbe977f5" ns2:_="" ns3:_="">
    <xsd:import namespace="b98c6ba5-f6a6-40ed-87f4-d2392211ed2b"/>
    <xsd:import namespace="32d0f106-84ba-4729-858f-c7f38726f8d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8c6ba5-f6a6-40ed-87f4-d2392211ed2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8ea13421-8d58-406f-b44a-2247ba8314ef}" ma:internalName="TaxCatchAll" ma:showField="CatchAllData" ma:web="b98c6ba5-f6a6-40ed-87f4-d2392211ed2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d0f106-84ba-4729-858f-c7f38726f8d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6c20cc51-d7bf-4bb9-bd99-185e461ab03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870D813-2712-4F51-8157-676C052A258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0B5F67C-ED53-41CB-9887-13FCB1B7A353}">
  <ds:schemaRefs>
    <ds:schemaRef ds:uri="http://purl.org/dc/elements/1.1/"/>
    <ds:schemaRef ds:uri="http://schemas.microsoft.com/office/2006/metadata/properties"/>
    <ds:schemaRef ds:uri="21c14a44-2e2e-47dd-83a5-5db48aacfe2e"/>
    <ds:schemaRef ds:uri="http://schemas.microsoft.com/office/2006/documentManagement/types"/>
    <ds:schemaRef ds:uri="http://purl.org/dc/terms/"/>
    <ds:schemaRef ds:uri="45f5f67e-e061-4552-bcee-83d5eb89c2af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3383238-AEC7-48AA-9241-4D89701F975C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533</TotalTime>
  <Words>1153</Words>
  <Application>Microsoft Office PowerPoint</Application>
  <PresentationFormat>Widescreen</PresentationFormat>
  <Paragraphs>176</Paragraphs>
  <Slides>20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2" baseType="lpstr">
      <vt:lpstr>Arial</vt:lpstr>
      <vt:lpstr>Calibri</vt:lpstr>
      <vt:lpstr>Open Sans</vt:lpstr>
      <vt:lpstr>Open Sans Light</vt:lpstr>
      <vt:lpstr>Roboto</vt:lpstr>
      <vt:lpstr>Segoe UI</vt:lpstr>
      <vt:lpstr>Speedee</vt:lpstr>
      <vt:lpstr>MCD_2020_v1.5</vt:lpstr>
      <vt:lpstr>1_McD</vt:lpstr>
      <vt:lpstr>3_McD</vt:lpstr>
      <vt:lpstr>1_MCD_2020_v1.5</vt:lpstr>
      <vt:lpstr>think-cell Slide</vt:lpstr>
      <vt:lpstr>GMA Lite – Advanced App Topic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eedback, 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Desai Chinar</dc:creator>
  <cp:lastModifiedBy>Kaur, Harjot</cp:lastModifiedBy>
  <cp:revision>837</cp:revision>
  <cp:lastPrinted>2016-08-17T06:10:16Z</cp:lastPrinted>
  <dcterms:created xsi:type="dcterms:W3CDTF">2016-07-27T14:54:37Z</dcterms:created>
  <dcterms:modified xsi:type="dcterms:W3CDTF">2023-05-17T03:18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35FE645942BA42A47725B1E6544B1F</vt:lpwstr>
  </property>
</Properties>
</file>